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data2.xml" ContentType="application/vnd.openxmlformats-officedocument.drawingml.diagramData+xml"/>
  <Override PartName="/ppt/tags/tag32.xml" ContentType="application/vnd.openxmlformats-officedocument.presentationml.tag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Default Extension="bin" ContentType="application/vnd.openxmlformats-officedocument.oleObject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diagrams/layout4.xml" ContentType="application/vnd.openxmlformats-officedocument.drawingml.diagramLayout+xml"/>
  <Override PartName="/ppt/diagrams/drawing15.xml" ContentType="application/vnd.ms-office.drawingml.diagramDrawing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diagrams/data3.xml" ContentType="application/vnd.openxmlformats-officedocument.drawingml.diagramData+xml"/>
  <Override PartName="/ppt/diagrams/drawing6.xml" ContentType="application/vnd.ms-office.drawingml.diagramDrawing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4968" r:id="rId1"/>
    <p:sldMasterId id="2147484982" r:id="rId2"/>
  </p:sldMasterIdLst>
  <p:notesMasterIdLst>
    <p:notesMasterId r:id="rId10"/>
  </p:notesMasterIdLst>
  <p:handoutMasterIdLst>
    <p:handoutMasterId r:id="rId11"/>
  </p:handoutMasterIdLst>
  <p:sldIdLst>
    <p:sldId id="466" r:id="rId3"/>
    <p:sldId id="527" r:id="rId4"/>
    <p:sldId id="539" r:id="rId5"/>
    <p:sldId id="540" r:id="rId6"/>
    <p:sldId id="555" r:id="rId7"/>
    <p:sldId id="559" r:id="rId8"/>
    <p:sldId id="583" r:id="rId9"/>
  </p:sldIdLst>
  <p:sldSz cx="9144000" cy="6858000" type="screen4x3"/>
  <p:notesSz cx="6797675" cy="9926638"/>
  <p:custDataLst>
    <p:tags r:id="rId12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sz="3600" kern="1200">
        <a:solidFill>
          <a:schemeClr val="tx1"/>
        </a:solidFill>
        <a:latin typeface="Arial" pitchFamily="34" charset="0"/>
        <a:ea typeface="宋体" pitchFamily="2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10000"/>
    </p:penClr>
  </p:showPr>
  <p:clrMru>
    <a:srgbClr val="807D81"/>
    <a:srgbClr val="6B6B6B"/>
    <a:srgbClr val="000000"/>
    <a:srgbClr val="2DC8FF"/>
    <a:srgbClr val="FFFFFF"/>
    <a:srgbClr val="FF0000"/>
    <a:srgbClr val="24D816"/>
    <a:srgbClr val="51BDBD"/>
    <a:srgbClr val="292929"/>
    <a:srgbClr val="5F5F5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175" autoAdjust="0"/>
    <p:restoredTop sz="94803" autoAdjust="0"/>
  </p:normalViewPr>
  <p:slideViewPr>
    <p:cSldViewPr>
      <p:cViewPr varScale="1">
        <p:scale>
          <a:sx n="76" d="100"/>
          <a:sy n="76" d="100"/>
        </p:scale>
        <p:origin x="-255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1362" y="-84"/>
      </p:cViewPr>
      <p:guideLst>
        <p:guide orient="horz" pos="3126"/>
        <p:guide pos="2141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9483AA-112A-4FF5-8453-5E186C47C1AC}" type="doc">
      <dgm:prSet loTypeId="urn:microsoft.com/office/officeart/2005/8/layout/funnel1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zh-CN" altLang="en-US"/>
        </a:p>
      </dgm:t>
    </dgm:pt>
    <dgm:pt modelId="{2149EDC0-D8A8-46F7-AAB6-D3860A2B61E9}">
      <dgm:prSet phldrT="[Text]"/>
      <dgm:spPr>
        <a:solidFill>
          <a:srgbClr val="24D816"/>
        </a:solidFill>
      </dgm:spPr>
      <dgm:t>
        <a:bodyPr/>
        <a:lstStyle/>
        <a:p>
          <a:r>
            <a:rPr lang="zh-CN" altLang="en-US" b="1" dirty="0" smtClean="0"/>
            <a:t>高智</a:t>
          </a:r>
          <a:endParaRPr lang="zh-CN" altLang="en-US" b="1" dirty="0"/>
        </a:p>
      </dgm:t>
    </dgm:pt>
    <dgm:pt modelId="{165CEC50-3C37-4156-8CA6-7F77930D908E}" type="parTrans" cxnId="{11E2D20B-E2B5-4019-8071-C7F4A20EA81E}">
      <dgm:prSet/>
      <dgm:spPr/>
      <dgm:t>
        <a:bodyPr/>
        <a:lstStyle/>
        <a:p>
          <a:endParaRPr lang="zh-CN" altLang="en-US" b="1"/>
        </a:p>
      </dgm:t>
    </dgm:pt>
    <dgm:pt modelId="{30A0CFC9-FD7D-4B46-9194-CAF698A03124}" type="sibTrans" cxnId="{11E2D20B-E2B5-4019-8071-C7F4A20EA81E}">
      <dgm:prSet/>
      <dgm:spPr/>
      <dgm:t>
        <a:bodyPr/>
        <a:lstStyle/>
        <a:p>
          <a:endParaRPr lang="zh-CN" altLang="en-US" b="1"/>
        </a:p>
      </dgm:t>
    </dgm:pt>
    <dgm:pt modelId="{23F374FB-8487-4EA2-BCC8-F7EF60E25228}">
      <dgm:prSet phldrT="[Text]"/>
      <dgm:spPr>
        <a:solidFill>
          <a:srgbClr val="2DC8FF"/>
        </a:solidFill>
      </dgm:spPr>
      <dgm:t>
        <a:bodyPr/>
        <a:lstStyle/>
        <a:p>
          <a:r>
            <a:rPr lang="zh-CN" altLang="en-US" b="1" dirty="0" smtClean="0"/>
            <a:t>弱小</a:t>
          </a:r>
          <a:endParaRPr lang="zh-CN" altLang="en-US" b="1" dirty="0"/>
        </a:p>
      </dgm:t>
    </dgm:pt>
    <dgm:pt modelId="{180E50B0-96C0-45A6-A5C3-301ACB3E8656}" type="parTrans" cxnId="{E2D235E8-16B3-48D4-91CB-E562557A83A6}">
      <dgm:prSet/>
      <dgm:spPr/>
      <dgm:t>
        <a:bodyPr/>
        <a:lstStyle/>
        <a:p>
          <a:endParaRPr lang="zh-CN" altLang="en-US" b="1"/>
        </a:p>
      </dgm:t>
    </dgm:pt>
    <dgm:pt modelId="{06D34B9A-5024-4DB6-981C-BFB42BC822C1}" type="sibTrans" cxnId="{E2D235E8-16B3-48D4-91CB-E562557A83A6}">
      <dgm:prSet/>
      <dgm:spPr/>
      <dgm:t>
        <a:bodyPr/>
        <a:lstStyle/>
        <a:p>
          <a:endParaRPr lang="zh-CN" altLang="en-US" b="1"/>
        </a:p>
      </dgm:t>
    </dgm:pt>
    <dgm:pt modelId="{E4A7F4E0-40F9-4797-B41E-231A68B1A357}">
      <dgm:prSet phldrT="[Text]"/>
      <dgm:spPr/>
      <dgm:t>
        <a:bodyPr/>
        <a:lstStyle/>
        <a:p>
          <a:r>
            <a:rPr lang="zh-CN" altLang="en-US" b="1" dirty="0" smtClean="0"/>
            <a:t>群居</a:t>
          </a:r>
          <a:endParaRPr lang="zh-CN" altLang="en-US" b="1" dirty="0"/>
        </a:p>
      </dgm:t>
    </dgm:pt>
    <dgm:pt modelId="{9B767052-FB79-4A74-A487-9DF244971A37}" type="parTrans" cxnId="{5CAFE44D-AFD2-4231-8616-E533047D16B0}">
      <dgm:prSet/>
      <dgm:spPr/>
      <dgm:t>
        <a:bodyPr/>
        <a:lstStyle/>
        <a:p>
          <a:endParaRPr lang="zh-CN" altLang="en-US" b="1"/>
        </a:p>
      </dgm:t>
    </dgm:pt>
    <dgm:pt modelId="{39A983E1-E1CD-4830-AE7E-B2C68DCA2DE2}" type="sibTrans" cxnId="{5CAFE44D-AFD2-4231-8616-E533047D16B0}">
      <dgm:prSet/>
      <dgm:spPr/>
      <dgm:t>
        <a:bodyPr/>
        <a:lstStyle/>
        <a:p>
          <a:endParaRPr lang="zh-CN" altLang="en-US" b="1"/>
        </a:p>
      </dgm:t>
    </dgm:pt>
    <dgm:pt modelId="{094DE40F-D3EC-46C2-B1AA-0B012C79F0BE}">
      <dgm:prSet phldrT="[Text]" custT="1"/>
      <dgm:spPr/>
      <dgm:t>
        <a:bodyPr>
          <a:scene3d>
            <a:camera prst="orthographicFront">
              <a:rot lat="0" lon="0" rev="0"/>
            </a:camera>
            <a:lightRig rig="contrasting" dir="t">
              <a:rot lat="0" lon="0" rev="4500000"/>
            </a:lightRig>
          </a:scene3d>
          <a:sp3d contourW="6350" prstMaterial="metal">
            <a:bevelT w="127000" h="31750" prst="relaxedInset"/>
            <a:contourClr>
              <a:schemeClr val="accent1">
                <a:shade val="75000"/>
              </a:schemeClr>
            </a:contourClr>
          </a:sp3d>
        </a:bodyPr>
        <a:lstStyle/>
        <a:p>
          <a:r>
            <a:rPr lang="zh-CN" altLang="en-US" sz="3600" b="1" cap="all" spc="0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rPr>
            <a:t>蚁族</a:t>
          </a:r>
          <a:endParaRPr lang="zh-CN" altLang="en-US" sz="3600" b="1" cap="all" spc="0" dirty="0">
            <a:ln w="0"/>
            <a:gradFill flip="none">
              <a:gsLst>
                <a:gs pos="0">
                  <a:schemeClr val="accent1">
                    <a:tint val="75000"/>
                    <a:shade val="75000"/>
                    <a:satMod val="170000"/>
                  </a:schemeClr>
                </a:gs>
                <a:gs pos="49000">
                  <a:schemeClr val="accent1">
                    <a:tint val="88000"/>
                    <a:shade val="65000"/>
                    <a:satMod val="172000"/>
                  </a:schemeClr>
                </a:gs>
                <a:gs pos="50000">
                  <a:schemeClr val="accent1">
                    <a:shade val="65000"/>
                    <a:satMod val="130000"/>
                  </a:schemeClr>
                </a:gs>
                <a:gs pos="92000">
                  <a:schemeClr val="accent1">
                    <a:shade val="50000"/>
                    <a:satMod val="120000"/>
                  </a:schemeClr>
                </a:gs>
                <a:gs pos="100000">
                  <a:schemeClr val="accent1">
                    <a:shade val="48000"/>
                    <a:satMod val="120000"/>
                  </a:schemeClr>
                </a:gs>
              </a:gsLst>
              <a:lin ang="5400000"/>
            </a:gradFill>
            <a:effectLst>
              <a:reflection blurRad="12700" stA="50000" endPos="50000" dist="5000" dir="5400000" sy="-100000" rotWithShape="0"/>
            </a:effectLst>
          </a:endParaRPr>
        </a:p>
      </dgm:t>
    </dgm:pt>
    <dgm:pt modelId="{AEFC75C1-52BB-4CD7-A328-0EF5B704AA92}" type="parTrans" cxnId="{3889BADA-CE73-4501-A6EA-006E1CAE9E30}">
      <dgm:prSet/>
      <dgm:spPr/>
      <dgm:t>
        <a:bodyPr/>
        <a:lstStyle/>
        <a:p>
          <a:endParaRPr lang="zh-CN" altLang="en-US" b="1"/>
        </a:p>
      </dgm:t>
    </dgm:pt>
    <dgm:pt modelId="{9F85AA79-9C13-4082-8A50-43A909DD079B}" type="sibTrans" cxnId="{3889BADA-CE73-4501-A6EA-006E1CAE9E30}">
      <dgm:prSet/>
      <dgm:spPr/>
      <dgm:t>
        <a:bodyPr/>
        <a:lstStyle/>
        <a:p>
          <a:endParaRPr lang="zh-CN" altLang="en-US" b="1"/>
        </a:p>
      </dgm:t>
    </dgm:pt>
    <dgm:pt modelId="{B5576299-614A-497A-86A5-859A268A505A}" type="pres">
      <dgm:prSet presAssocID="{BF9483AA-112A-4FF5-8453-5E186C47C1AC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F21CC67-D333-441E-AAE9-0F435CADCB85}" type="pres">
      <dgm:prSet presAssocID="{BF9483AA-112A-4FF5-8453-5E186C47C1AC}" presName="ellipse" presStyleLbl="trBgShp" presStyleIdx="0" presStyleCnt="1"/>
      <dgm:spPr/>
    </dgm:pt>
    <dgm:pt modelId="{52D54639-9D1B-48AF-825C-DB2756FD3D25}" type="pres">
      <dgm:prSet presAssocID="{BF9483AA-112A-4FF5-8453-5E186C47C1AC}" presName="arrow1" presStyleLbl="fgShp" presStyleIdx="0" presStyleCnt="1" custLinFactNeighborX="2000"/>
      <dgm:spPr>
        <a:solidFill>
          <a:srgbClr val="2DC8FF"/>
        </a:solidFill>
      </dgm:spPr>
    </dgm:pt>
    <dgm:pt modelId="{F1B6E9BE-C19A-497D-ABAA-B59C59EBF0CA}" type="pres">
      <dgm:prSet presAssocID="{BF9483AA-112A-4FF5-8453-5E186C47C1AC}" presName="rectangle" presStyleLbl="revTx" presStyleIdx="0" presStyleCnt="1" custScaleX="68750" custScaleY="12333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16C8BA5-B63A-48F9-8354-626EF18473A1}" type="pres">
      <dgm:prSet presAssocID="{23F374FB-8487-4EA2-BCC8-F7EF60E25228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C30C360-C477-4041-B8AE-7BCC69F2CF3D}" type="pres">
      <dgm:prSet presAssocID="{E4A7F4E0-40F9-4797-B41E-231A68B1A357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1CEBC02-A085-4F1D-A436-3D10627891C3}" type="pres">
      <dgm:prSet presAssocID="{094DE40F-D3EC-46C2-B1AA-0B012C79F0BE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CCDEA8C-89F5-4DB6-9654-25C41E70FA47}" type="pres">
      <dgm:prSet presAssocID="{BF9483AA-112A-4FF5-8453-5E186C47C1AC}" presName="funnel" presStyleLbl="trAlignAcc1" presStyleIdx="0" presStyleCnt="1"/>
      <dgm:spPr/>
    </dgm:pt>
  </dgm:ptLst>
  <dgm:cxnLst>
    <dgm:cxn modelId="{3889BADA-CE73-4501-A6EA-006E1CAE9E30}" srcId="{BF9483AA-112A-4FF5-8453-5E186C47C1AC}" destId="{094DE40F-D3EC-46C2-B1AA-0B012C79F0BE}" srcOrd="3" destOrd="0" parTransId="{AEFC75C1-52BB-4CD7-A328-0EF5B704AA92}" sibTransId="{9F85AA79-9C13-4082-8A50-43A909DD079B}"/>
    <dgm:cxn modelId="{11E2D20B-E2B5-4019-8071-C7F4A20EA81E}" srcId="{BF9483AA-112A-4FF5-8453-5E186C47C1AC}" destId="{2149EDC0-D8A8-46F7-AAB6-D3860A2B61E9}" srcOrd="0" destOrd="0" parTransId="{165CEC50-3C37-4156-8CA6-7F77930D908E}" sibTransId="{30A0CFC9-FD7D-4B46-9194-CAF698A03124}"/>
    <dgm:cxn modelId="{67506B47-F56A-4A01-BE7D-029D4C2ECE71}" type="presOf" srcId="{BF9483AA-112A-4FF5-8453-5E186C47C1AC}" destId="{B5576299-614A-497A-86A5-859A268A505A}" srcOrd="0" destOrd="0" presId="urn:microsoft.com/office/officeart/2005/8/layout/funnel1"/>
    <dgm:cxn modelId="{06F65A34-7E0D-49C4-8586-E5F8F0E01FE5}" type="presOf" srcId="{2149EDC0-D8A8-46F7-AAB6-D3860A2B61E9}" destId="{61CEBC02-A085-4F1D-A436-3D10627891C3}" srcOrd="0" destOrd="0" presId="urn:microsoft.com/office/officeart/2005/8/layout/funnel1"/>
    <dgm:cxn modelId="{E2D235E8-16B3-48D4-91CB-E562557A83A6}" srcId="{BF9483AA-112A-4FF5-8453-5E186C47C1AC}" destId="{23F374FB-8487-4EA2-BCC8-F7EF60E25228}" srcOrd="1" destOrd="0" parTransId="{180E50B0-96C0-45A6-A5C3-301ACB3E8656}" sibTransId="{06D34B9A-5024-4DB6-981C-BFB42BC822C1}"/>
    <dgm:cxn modelId="{83ADA060-F1E4-4C87-B20A-5A96351293FA}" type="presOf" srcId="{E4A7F4E0-40F9-4797-B41E-231A68B1A357}" destId="{816C8BA5-B63A-48F9-8354-626EF18473A1}" srcOrd="0" destOrd="0" presId="urn:microsoft.com/office/officeart/2005/8/layout/funnel1"/>
    <dgm:cxn modelId="{5CAFE44D-AFD2-4231-8616-E533047D16B0}" srcId="{BF9483AA-112A-4FF5-8453-5E186C47C1AC}" destId="{E4A7F4E0-40F9-4797-B41E-231A68B1A357}" srcOrd="2" destOrd="0" parTransId="{9B767052-FB79-4A74-A487-9DF244971A37}" sibTransId="{39A983E1-E1CD-4830-AE7E-B2C68DCA2DE2}"/>
    <dgm:cxn modelId="{2E9699CF-618B-479B-819F-3E22AFA819DE}" type="presOf" srcId="{094DE40F-D3EC-46C2-B1AA-0B012C79F0BE}" destId="{F1B6E9BE-C19A-497D-ABAA-B59C59EBF0CA}" srcOrd="0" destOrd="0" presId="urn:microsoft.com/office/officeart/2005/8/layout/funnel1"/>
    <dgm:cxn modelId="{9A20363B-2D29-4C6A-8FBF-789F6FBFA482}" type="presOf" srcId="{23F374FB-8487-4EA2-BCC8-F7EF60E25228}" destId="{2C30C360-C477-4041-B8AE-7BCC69F2CF3D}" srcOrd="0" destOrd="0" presId="urn:microsoft.com/office/officeart/2005/8/layout/funnel1"/>
    <dgm:cxn modelId="{EC7DBA4F-EF0C-4A1C-A9B4-0F051A3F6EDE}" type="presParOf" srcId="{B5576299-614A-497A-86A5-859A268A505A}" destId="{DF21CC67-D333-441E-AAE9-0F435CADCB85}" srcOrd="0" destOrd="0" presId="urn:microsoft.com/office/officeart/2005/8/layout/funnel1"/>
    <dgm:cxn modelId="{4766AE9B-0961-4612-8DBD-58011FA04600}" type="presParOf" srcId="{B5576299-614A-497A-86A5-859A268A505A}" destId="{52D54639-9D1B-48AF-825C-DB2756FD3D25}" srcOrd="1" destOrd="0" presId="urn:microsoft.com/office/officeart/2005/8/layout/funnel1"/>
    <dgm:cxn modelId="{5528721B-9695-4396-9059-DA92B0469274}" type="presParOf" srcId="{B5576299-614A-497A-86A5-859A268A505A}" destId="{F1B6E9BE-C19A-497D-ABAA-B59C59EBF0CA}" srcOrd="2" destOrd="0" presId="urn:microsoft.com/office/officeart/2005/8/layout/funnel1"/>
    <dgm:cxn modelId="{CFAD57CA-4DF7-4A43-970B-FCD580B3010E}" type="presParOf" srcId="{B5576299-614A-497A-86A5-859A268A505A}" destId="{816C8BA5-B63A-48F9-8354-626EF18473A1}" srcOrd="3" destOrd="0" presId="urn:microsoft.com/office/officeart/2005/8/layout/funnel1"/>
    <dgm:cxn modelId="{8497EEFB-2780-4DBE-B2D3-19893E24278F}" type="presParOf" srcId="{B5576299-614A-497A-86A5-859A268A505A}" destId="{2C30C360-C477-4041-B8AE-7BCC69F2CF3D}" srcOrd="4" destOrd="0" presId="urn:microsoft.com/office/officeart/2005/8/layout/funnel1"/>
    <dgm:cxn modelId="{3F04CAEE-35EA-42B2-9136-A92EE851C664}" type="presParOf" srcId="{B5576299-614A-497A-86A5-859A268A505A}" destId="{61CEBC02-A085-4F1D-A436-3D10627891C3}" srcOrd="5" destOrd="0" presId="urn:microsoft.com/office/officeart/2005/8/layout/funnel1"/>
    <dgm:cxn modelId="{30B28F4B-A252-4DC7-8B7E-E8E5C6BFBA56}" type="presParOf" srcId="{B5576299-614A-497A-86A5-859A268A505A}" destId="{8CCDEA8C-89F5-4DB6-9654-25C41E70FA47}" srcOrd="6" destOrd="0" presId="urn:microsoft.com/office/officeart/2005/8/layout/funnel1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CCA724-E0A7-4BDC-A79F-389BBEE96A0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97346364-C09A-4C49-9A55-999D0EAB80AD}">
      <dgm:prSet phldrT="[Text]"/>
      <dgm:spPr>
        <a:solidFill>
          <a:srgbClr val="2DC8FF"/>
        </a:solidFill>
      </dgm:spPr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人员</a:t>
          </a:r>
          <a:endParaRPr lang="en-US" altLang="zh-CN" b="1" dirty="0" smtClean="0">
            <a:solidFill>
              <a:schemeClr val="tx1"/>
            </a:solidFill>
            <a:latin typeface="+mj-ea"/>
            <a:ea typeface="+mj-ea"/>
          </a:endParaRPr>
        </a:p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构成</a:t>
          </a:r>
          <a:endParaRPr lang="zh-CN" altLang="en-US" b="1" dirty="0">
            <a:solidFill>
              <a:schemeClr val="tx1"/>
            </a:solidFill>
            <a:latin typeface="+mj-ea"/>
            <a:ea typeface="+mj-ea"/>
          </a:endParaRPr>
        </a:p>
      </dgm:t>
    </dgm:pt>
    <dgm:pt modelId="{F717739A-ACE3-4F80-8E37-2DD90507D5E5}" type="parTrans" cxnId="{538C4B14-23A7-442E-9AEB-CC4DF9B7F972}">
      <dgm:prSet/>
      <dgm:spPr/>
      <dgm:t>
        <a:bodyPr/>
        <a:lstStyle/>
        <a:p>
          <a:endParaRPr lang="zh-CN" altLang="en-US" b="1"/>
        </a:p>
      </dgm:t>
    </dgm:pt>
    <dgm:pt modelId="{280D5740-FE99-4C66-9883-4C9C416E43BC}" type="sibTrans" cxnId="{538C4B14-23A7-442E-9AEB-CC4DF9B7F972}">
      <dgm:prSet/>
      <dgm:spPr/>
      <dgm:t>
        <a:bodyPr/>
        <a:lstStyle/>
        <a:p>
          <a:endParaRPr lang="zh-CN" altLang="en-US" b="1"/>
        </a:p>
      </dgm:t>
    </dgm:pt>
    <dgm:pt modelId="{FA8FC034-B53C-4A97-873C-6C19F9DC69B8}">
      <dgm:prSet phldrT="[Text]" custT="1"/>
      <dgm:spPr/>
      <dgm:t>
        <a:bodyPr anchor="ctr" anchorCtr="0"/>
        <a:lstStyle/>
        <a:p>
          <a:r>
            <a:rPr lang="zh-CN" altLang="en-US" sz="1600" b="1" dirty="0" smtClean="0"/>
            <a:t>多为</a:t>
          </a:r>
          <a:r>
            <a:rPr lang="en-US" altLang="zh-CN" sz="1600" b="1" dirty="0" smtClean="0"/>
            <a:t>80</a:t>
          </a:r>
          <a:r>
            <a:rPr lang="zh-CN" altLang="en-US" sz="1600" b="1" dirty="0" smtClean="0"/>
            <a:t>后、</a:t>
          </a:r>
          <a:r>
            <a:rPr lang="en-US" altLang="zh-CN" sz="1600" b="1" dirty="0" smtClean="0"/>
            <a:t>90</a:t>
          </a:r>
          <a:r>
            <a:rPr lang="zh-CN" altLang="en-US" sz="1600" b="1" dirty="0" smtClean="0"/>
            <a:t>后</a:t>
          </a:r>
          <a:endParaRPr lang="zh-CN" altLang="en-US" sz="1600" b="1" dirty="0"/>
        </a:p>
      </dgm:t>
    </dgm:pt>
    <dgm:pt modelId="{8607F873-8809-466E-9A62-D866B9CA1734}" type="parTrans" cxnId="{7051A5B3-850B-42EA-9C8A-77E271F13367}">
      <dgm:prSet/>
      <dgm:spPr/>
      <dgm:t>
        <a:bodyPr/>
        <a:lstStyle/>
        <a:p>
          <a:endParaRPr lang="zh-CN" altLang="en-US" b="1"/>
        </a:p>
      </dgm:t>
    </dgm:pt>
    <dgm:pt modelId="{9494E204-E4FC-4453-95C1-772BA07E8260}" type="sibTrans" cxnId="{7051A5B3-850B-42EA-9C8A-77E271F13367}">
      <dgm:prSet/>
      <dgm:spPr/>
      <dgm:t>
        <a:bodyPr/>
        <a:lstStyle/>
        <a:p>
          <a:endParaRPr lang="zh-CN" altLang="en-US" b="1"/>
        </a:p>
      </dgm:t>
    </dgm:pt>
    <dgm:pt modelId="{9D06556D-820F-44C9-B705-D3690C186F4B}">
      <dgm:prSet phldrT="[Text]"/>
      <dgm:spPr>
        <a:solidFill>
          <a:srgbClr val="2DC8FF"/>
        </a:solidFill>
      </dgm:spPr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经济</a:t>
          </a:r>
          <a:endParaRPr lang="en-US" altLang="zh-CN" b="1" dirty="0" smtClean="0">
            <a:solidFill>
              <a:schemeClr val="tx1"/>
            </a:solidFill>
            <a:latin typeface="+mj-ea"/>
            <a:ea typeface="+mj-ea"/>
          </a:endParaRPr>
        </a:p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收入</a:t>
          </a:r>
        </a:p>
      </dgm:t>
    </dgm:pt>
    <dgm:pt modelId="{48A36C61-9035-47AA-B97A-A466716A9190}" type="parTrans" cxnId="{DDE56B61-EEA2-4F6F-8AFD-869427F8BBDA}">
      <dgm:prSet/>
      <dgm:spPr/>
      <dgm:t>
        <a:bodyPr/>
        <a:lstStyle/>
        <a:p>
          <a:endParaRPr lang="zh-CN" altLang="en-US" b="1"/>
        </a:p>
      </dgm:t>
    </dgm:pt>
    <dgm:pt modelId="{2D3D1B8E-22C2-41F1-91D5-B433308E47AC}" type="sibTrans" cxnId="{DDE56B61-EEA2-4F6F-8AFD-869427F8BBDA}">
      <dgm:prSet/>
      <dgm:spPr/>
      <dgm:t>
        <a:bodyPr/>
        <a:lstStyle/>
        <a:p>
          <a:endParaRPr lang="zh-CN" altLang="en-US" b="1"/>
        </a:p>
      </dgm:t>
    </dgm:pt>
    <dgm:pt modelId="{47615E22-55C0-468E-8B41-187C90BFFC6C}">
      <dgm:prSet phldrT="[Text]" custT="1"/>
      <dgm:spPr/>
      <dgm:t>
        <a:bodyPr/>
        <a:lstStyle/>
        <a:p>
          <a:r>
            <a:rPr lang="zh-CN" altLang="en-US" sz="1600" b="1" dirty="0" smtClean="0"/>
            <a:t>收入普遍不高</a:t>
          </a:r>
          <a:endParaRPr lang="zh-CN" altLang="en-US" sz="1600" b="1" dirty="0"/>
        </a:p>
      </dgm:t>
    </dgm:pt>
    <dgm:pt modelId="{FB944153-3B28-43E6-91D3-2C785EB9AC4A}" type="parTrans" cxnId="{3FC0D8C7-369B-44BD-9544-2F30F2CEB860}">
      <dgm:prSet/>
      <dgm:spPr/>
      <dgm:t>
        <a:bodyPr/>
        <a:lstStyle/>
        <a:p>
          <a:endParaRPr lang="zh-CN" altLang="en-US" b="1"/>
        </a:p>
      </dgm:t>
    </dgm:pt>
    <dgm:pt modelId="{8E533691-71C2-42D0-9A40-D685D510BDFD}" type="sibTrans" cxnId="{3FC0D8C7-369B-44BD-9544-2F30F2CEB860}">
      <dgm:prSet/>
      <dgm:spPr/>
      <dgm:t>
        <a:bodyPr/>
        <a:lstStyle/>
        <a:p>
          <a:endParaRPr lang="zh-CN" altLang="en-US" b="1"/>
        </a:p>
      </dgm:t>
    </dgm:pt>
    <dgm:pt modelId="{F7C1909F-E8C9-4825-B3A8-099A5BB91992}">
      <dgm:prSet phldrT="[Text]"/>
      <dgm:spPr>
        <a:solidFill>
          <a:srgbClr val="2DC8FF"/>
        </a:solidFill>
      </dgm:spPr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精神</a:t>
          </a:r>
          <a:endParaRPr lang="en-US" altLang="zh-CN" b="1" dirty="0" smtClean="0">
            <a:solidFill>
              <a:schemeClr val="tx1"/>
            </a:solidFill>
            <a:latin typeface="+mj-ea"/>
            <a:ea typeface="+mj-ea"/>
          </a:endParaRPr>
        </a:p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生活</a:t>
          </a:r>
        </a:p>
      </dgm:t>
    </dgm:pt>
    <dgm:pt modelId="{1FC28749-BD19-4C5D-973D-186C8980F5B2}" type="parTrans" cxnId="{6D65A7DB-D627-4B21-A332-5B414E626D2E}">
      <dgm:prSet/>
      <dgm:spPr/>
      <dgm:t>
        <a:bodyPr/>
        <a:lstStyle/>
        <a:p>
          <a:endParaRPr lang="zh-CN" altLang="en-US" b="1"/>
        </a:p>
      </dgm:t>
    </dgm:pt>
    <dgm:pt modelId="{11522B97-85F1-4D50-91A5-412DD2E0B922}" type="sibTrans" cxnId="{6D65A7DB-D627-4B21-A332-5B414E626D2E}">
      <dgm:prSet/>
      <dgm:spPr/>
      <dgm:t>
        <a:bodyPr/>
        <a:lstStyle/>
        <a:p>
          <a:endParaRPr lang="zh-CN" altLang="en-US" b="1"/>
        </a:p>
      </dgm:t>
    </dgm:pt>
    <dgm:pt modelId="{149E61E6-8139-40F1-8C33-82D483E0FDD2}">
      <dgm:prSet phldrT="[Text]"/>
      <dgm:spPr>
        <a:solidFill>
          <a:srgbClr val="2DC8FF"/>
        </a:solidFill>
      </dgm:spPr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社会</a:t>
          </a:r>
          <a:endParaRPr lang="en-US" altLang="zh-CN" b="1" dirty="0" smtClean="0">
            <a:solidFill>
              <a:schemeClr val="tx1"/>
            </a:solidFill>
            <a:latin typeface="+mj-ea"/>
            <a:ea typeface="+mj-ea"/>
          </a:endParaRPr>
        </a:p>
        <a:p>
          <a:pPr>
            <a:lnSpc>
              <a:spcPct val="80000"/>
            </a:lnSpc>
            <a:spcAft>
              <a:spcPts val="0"/>
            </a:spcAft>
          </a:pPr>
          <a:r>
            <a:rPr lang="zh-CN" altLang="en-US" b="1" dirty="0" smtClean="0">
              <a:solidFill>
                <a:schemeClr val="tx1"/>
              </a:solidFill>
              <a:latin typeface="+mj-ea"/>
              <a:ea typeface="+mj-ea"/>
            </a:rPr>
            <a:t>生活</a:t>
          </a:r>
        </a:p>
      </dgm:t>
    </dgm:pt>
    <dgm:pt modelId="{56243DFA-72E0-4915-82FE-5A775999248E}" type="parTrans" cxnId="{3E164B42-6598-458D-A8F5-5970B1E52A70}">
      <dgm:prSet/>
      <dgm:spPr/>
      <dgm:t>
        <a:bodyPr/>
        <a:lstStyle/>
        <a:p>
          <a:endParaRPr lang="zh-CN" altLang="en-US" b="1"/>
        </a:p>
      </dgm:t>
    </dgm:pt>
    <dgm:pt modelId="{A2F2BCCB-9801-4949-B788-1B9E0B9CD01F}" type="sibTrans" cxnId="{3E164B42-6598-458D-A8F5-5970B1E52A70}">
      <dgm:prSet/>
      <dgm:spPr/>
      <dgm:t>
        <a:bodyPr/>
        <a:lstStyle/>
        <a:p>
          <a:endParaRPr lang="zh-CN" altLang="en-US" b="1"/>
        </a:p>
      </dgm:t>
    </dgm:pt>
    <dgm:pt modelId="{CF05CD74-5CC2-4F11-8518-89B6DD68C135}">
      <dgm:prSet phldrT="[Text]" custT="1"/>
      <dgm:spPr/>
      <dgm:t>
        <a:bodyPr anchor="ctr" anchorCtr="0"/>
        <a:lstStyle/>
        <a:p>
          <a:r>
            <a:rPr lang="zh-CN" altLang="en-US" sz="1600" b="1" dirty="0" smtClean="0"/>
            <a:t>来自农村、乡镇</a:t>
          </a:r>
          <a:endParaRPr lang="zh-CN" altLang="en-US" sz="1600" b="1" dirty="0"/>
        </a:p>
      </dgm:t>
    </dgm:pt>
    <dgm:pt modelId="{78736EDC-DD69-4FB3-A762-A5AC9A77992E}" type="parTrans" cxnId="{120DEA8E-0596-4977-99EA-4DB45F1B059B}">
      <dgm:prSet/>
      <dgm:spPr/>
      <dgm:t>
        <a:bodyPr/>
        <a:lstStyle/>
        <a:p>
          <a:endParaRPr lang="zh-CN" altLang="en-US" b="1"/>
        </a:p>
      </dgm:t>
    </dgm:pt>
    <dgm:pt modelId="{A9C154A7-0A56-483E-9CF9-0574FEF83D96}" type="sibTrans" cxnId="{120DEA8E-0596-4977-99EA-4DB45F1B059B}">
      <dgm:prSet/>
      <dgm:spPr/>
      <dgm:t>
        <a:bodyPr/>
        <a:lstStyle/>
        <a:p>
          <a:endParaRPr lang="zh-CN" altLang="en-US" b="1"/>
        </a:p>
      </dgm:t>
    </dgm:pt>
    <dgm:pt modelId="{AE1B3EB5-3921-4B77-A941-957421732FAA}">
      <dgm:prSet phldrT="[Text]" custT="1"/>
      <dgm:spPr/>
      <dgm:t>
        <a:bodyPr/>
        <a:lstStyle/>
        <a:p>
          <a:r>
            <a:rPr lang="zh-CN" altLang="en-US" sz="1600" b="1" dirty="0" smtClean="0"/>
            <a:t>缺乏劳动权益和 社会保障</a:t>
          </a:r>
          <a:endParaRPr lang="zh-CN" altLang="en-US" sz="1600" b="1" dirty="0"/>
        </a:p>
      </dgm:t>
    </dgm:pt>
    <dgm:pt modelId="{987FA87F-4FE2-4B29-8998-71AEDE7DBC42}" type="parTrans" cxnId="{11ADE673-B25B-4D6A-9216-198284BEEB5A}">
      <dgm:prSet/>
      <dgm:spPr/>
      <dgm:t>
        <a:bodyPr/>
        <a:lstStyle/>
        <a:p>
          <a:endParaRPr lang="zh-CN" altLang="en-US" b="1"/>
        </a:p>
      </dgm:t>
    </dgm:pt>
    <dgm:pt modelId="{8DAC07A3-E68E-4F79-A5DB-BB99F0013601}" type="sibTrans" cxnId="{11ADE673-B25B-4D6A-9216-198284BEEB5A}">
      <dgm:prSet/>
      <dgm:spPr/>
      <dgm:t>
        <a:bodyPr/>
        <a:lstStyle/>
        <a:p>
          <a:endParaRPr lang="zh-CN" altLang="en-US" b="1"/>
        </a:p>
      </dgm:t>
    </dgm:pt>
    <dgm:pt modelId="{44D0F0E5-00CE-4085-9DD8-3662A7866C44}">
      <dgm:prSet custT="1"/>
      <dgm:spPr/>
      <dgm:t>
        <a:bodyPr anchor="ctr" anchorCtr="0"/>
        <a:lstStyle/>
        <a:p>
          <a:r>
            <a:rPr lang="zh-CN" altLang="en-US" sz="1600" b="1" dirty="0" smtClean="0"/>
            <a:t>文化生活单调</a:t>
          </a:r>
          <a:endParaRPr lang="zh-CN" altLang="en-US" sz="1600" b="1" dirty="0"/>
        </a:p>
      </dgm:t>
    </dgm:pt>
    <dgm:pt modelId="{F2241192-00E7-445C-9AB9-A9B755004351}" type="parTrans" cxnId="{2AF403B6-B52C-49D1-80B7-75D4CF9C0D86}">
      <dgm:prSet/>
      <dgm:spPr/>
      <dgm:t>
        <a:bodyPr/>
        <a:lstStyle/>
        <a:p>
          <a:endParaRPr lang="zh-CN" altLang="en-US" b="1"/>
        </a:p>
      </dgm:t>
    </dgm:pt>
    <dgm:pt modelId="{3D15CCDD-408E-4FDA-AFAD-DF14A409FCC7}" type="sibTrans" cxnId="{2AF403B6-B52C-49D1-80B7-75D4CF9C0D86}">
      <dgm:prSet/>
      <dgm:spPr/>
      <dgm:t>
        <a:bodyPr/>
        <a:lstStyle/>
        <a:p>
          <a:endParaRPr lang="zh-CN" altLang="en-US" b="1"/>
        </a:p>
      </dgm:t>
    </dgm:pt>
    <dgm:pt modelId="{44E94457-09A2-4801-80FD-2B713BEFA55B}">
      <dgm:prSet custT="1"/>
      <dgm:spPr/>
      <dgm:t>
        <a:bodyPr anchor="ctr" anchorCtr="0"/>
        <a:lstStyle/>
        <a:p>
          <a:r>
            <a:rPr lang="zh-CN" altLang="en-US" sz="1600" b="1" dirty="0" smtClean="0"/>
            <a:t>社会交往有限</a:t>
          </a:r>
          <a:endParaRPr lang="zh-CN" altLang="en-US" sz="1600" b="1" dirty="0"/>
        </a:p>
      </dgm:t>
    </dgm:pt>
    <dgm:pt modelId="{4B3634AA-57CD-4023-800E-444335C7DCE5}" type="parTrans" cxnId="{D19079DD-D822-4B4E-87D4-0C9E4D66E483}">
      <dgm:prSet/>
      <dgm:spPr/>
      <dgm:t>
        <a:bodyPr/>
        <a:lstStyle/>
        <a:p>
          <a:endParaRPr lang="zh-CN" altLang="en-US" b="1"/>
        </a:p>
      </dgm:t>
    </dgm:pt>
    <dgm:pt modelId="{6A92078C-1EE6-4908-A8F0-87BD6C9891F7}" type="sibTrans" cxnId="{D19079DD-D822-4B4E-87D4-0C9E4D66E483}">
      <dgm:prSet/>
      <dgm:spPr/>
      <dgm:t>
        <a:bodyPr/>
        <a:lstStyle/>
        <a:p>
          <a:endParaRPr lang="zh-CN" altLang="en-US" b="1"/>
        </a:p>
      </dgm:t>
    </dgm:pt>
    <dgm:pt modelId="{957483D2-99E7-4517-A02D-E6C8255B6FE1}">
      <dgm:prSet custT="1"/>
      <dgm:spPr/>
      <dgm:t>
        <a:bodyPr anchor="ctr" anchorCtr="0"/>
        <a:lstStyle/>
        <a:p>
          <a:r>
            <a:rPr lang="zh-CN" altLang="en-US" sz="1600" b="1" dirty="0" smtClean="0"/>
            <a:t>生活圈子较窄</a:t>
          </a:r>
          <a:endParaRPr lang="zh-CN" altLang="en-US" sz="1600" b="1" dirty="0"/>
        </a:p>
      </dgm:t>
    </dgm:pt>
    <dgm:pt modelId="{06F03BBB-4FD3-4AD6-A1FE-6502D31236B0}" type="parTrans" cxnId="{32CC3227-743D-4AF3-87FA-928C54AA7ED5}">
      <dgm:prSet/>
      <dgm:spPr/>
      <dgm:t>
        <a:bodyPr/>
        <a:lstStyle/>
        <a:p>
          <a:endParaRPr lang="zh-CN" altLang="en-US" b="1"/>
        </a:p>
      </dgm:t>
    </dgm:pt>
    <dgm:pt modelId="{543E87E9-8C31-492C-AD3C-0804124DC472}" type="sibTrans" cxnId="{32CC3227-743D-4AF3-87FA-928C54AA7ED5}">
      <dgm:prSet/>
      <dgm:spPr/>
      <dgm:t>
        <a:bodyPr/>
        <a:lstStyle/>
        <a:p>
          <a:endParaRPr lang="zh-CN" altLang="en-US" b="1"/>
        </a:p>
      </dgm:t>
    </dgm:pt>
    <dgm:pt modelId="{04CEF5EA-6268-489C-8B01-D49E9FA87C20}">
      <dgm:prSet custT="1"/>
      <dgm:spPr/>
      <dgm:t>
        <a:bodyPr anchor="ctr" anchorCtr="0"/>
        <a:lstStyle/>
        <a:p>
          <a:r>
            <a:rPr lang="zh-CN" altLang="en-US" sz="1600" b="1" dirty="0" smtClean="0"/>
            <a:t>对未来既憧憬又不确定</a:t>
          </a:r>
          <a:endParaRPr lang="zh-CN" altLang="en-US" sz="1600" b="1" dirty="0"/>
        </a:p>
      </dgm:t>
    </dgm:pt>
    <dgm:pt modelId="{789626B0-DD1A-42C6-8816-76AEDDD1AFCF}" type="parTrans" cxnId="{E4DED291-BF94-48CA-BF9E-370F5DB31F38}">
      <dgm:prSet/>
      <dgm:spPr/>
      <dgm:t>
        <a:bodyPr/>
        <a:lstStyle/>
        <a:p>
          <a:endParaRPr lang="zh-CN" altLang="en-US" b="1"/>
        </a:p>
      </dgm:t>
    </dgm:pt>
    <dgm:pt modelId="{3A032114-1D10-4417-8C84-0A3A29CABA02}" type="sibTrans" cxnId="{E4DED291-BF94-48CA-BF9E-370F5DB31F38}">
      <dgm:prSet/>
      <dgm:spPr/>
      <dgm:t>
        <a:bodyPr/>
        <a:lstStyle/>
        <a:p>
          <a:endParaRPr lang="zh-CN" altLang="en-US" b="1"/>
        </a:p>
      </dgm:t>
    </dgm:pt>
    <dgm:pt modelId="{15149BA6-9F6B-4C07-A5D5-848E9D96243A}" type="pres">
      <dgm:prSet presAssocID="{7ECCA724-E0A7-4BDC-A79F-389BBEE96A0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zh-CN" altLang="en-US"/>
        </a:p>
      </dgm:t>
    </dgm:pt>
    <dgm:pt modelId="{CFAF49E9-DCAF-4894-A6A7-0EAEE4255422}" type="pres">
      <dgm:prSet presAssocID="{97346364-C09A-4C49-9A55-999D0EAB80AD}" presName="linNode" presStyleCnt="0"/>
      <dgm:spPr/>
    </dgm:pt>
    <dgm:pt modelId="{6F06BEE9-D6EE-43D0-BD9D-7B8AD778C586}" type="pres">
      <dgm:prSet presAssocID="{97346364-C09A-4C49-9A55-999D0EAB80AD}" presName="parentShp" presStyleLbl="node1" presStyleIdx="0" presStyleCnt="4" custScaleX="611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EA5CEB5-F08E-4B13-BE6E-ED017DAE86A0}" type="pres">
      <dgm:prSet presAssocID="{97346364-C09A-4C49-9A55-999D0EAB80AD}" presName="childShp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808D146-D020-45D8-914D-709D00731EE2}" type="pres">
      <dgm:prSet presAssocID="{280D5740-FE99-4C66-9883-4C9C416E43BC}" presName="spacing" presStyleCnt="0"/>
      <dgm:spPr/>
    </dgm:pt>
    <dgm:pt modelId="{F01C2A4C-5BA2-4589-9E94-FE79C4248310}" type="pres">
      <dgm:prSet presAssocID="{9D06556D-820F-44C9-B705-D3690C186F4B}" presName="linNode" presStyleCnt="0"/>
      <dgm:spPr/>
    </dgm:pt>
    <dgm:pt modelId="{E133BF8B-2C15-48EE-82D2-E7D39596B384}" type="pres">
      <dgm:prSet presAssocID="{9D06556D-820F-44C9-B705-D3690C186F4B}" presName="parentShp" presStyleLbl="node1" presStyleIdx="1" presStyleCnt="4" custScaleX="611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3BF589A-45AA-4199-B736-57891516CCD2}" type="pres">
      <dgm:prSet presAssocID="{9D06556D-820F-44C9-B705-D3690C186F4B}" presName="childShp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EA00947-4591-42D2-B7BB-F78C100EB8F7}" type="pres">
      <dgm:prSet presAssocID="{2D3D1B8E-22C2-41F1-91D5-B433308E47AC}" presName="spacing" presStyleCnt="0"/>
      <dgm:spPr/>
    </dgm:pt>
    <dgm:pt modelId="{681006CE-88D1-4328-93CB-A36D81C4C4A3}" type="pres">
      <dgm:prSet presAssocID="{F7C1909F-E8C9-4825-B3A8-099A5BB91992}" presName="linNode" presStyleCnt="0"/>
      <dgm:spPr/>
    </dgm:pt>
    <dgm:pt modelId="{F29317F7-84F7-4414-AC2E-6A5A6627B977}" type="pres">
      <dgm:prSet presAssocID="{F7C1909F-E8C9-4825-B3A8-099A5BB91992}" presName="parentShp" presStyleLbl="node1" presStyleIdx="2" presStyleCnt="4" custScaleX="611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3CB6785-6056-44BC-BD74-46AA6BD18D42}" type="pres">
      <dgm:prSet presAssocID="{F7C1909F-E8C9-4825-B3A8-099A5BB91992}" presName="childShp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3932B3C-CA28-4F35-BD8F-9909183A4B86}" type="pres">
      <dgm:prSet presAssocID="{11522B97-85F1-4D50-91A5-412DD2E0B922}" presName="spacing" presStyleCnt="0"/>
      <dgm:spPr/>
    </dgm:pt>
    <dgm:pt modelId="{3D8A21C0-545D-4715-BF27-03ACDBE498CE}" type="pres">
      <dgm:prSet presAssocID="{149E61E6-8139-40F1-8C33-82D483E0FDD2}" presName="linNode" presStyleCnt="0"/>
      <dgm:spPr/>
    </dgm:pt>
    <dgm:pt modelId="{D372631C-CEA5-4DC2-B55E-86DF2F2DBB96}" type="pres">
      <dgm:prSet presAssocID="{149E61E6-8139-40F1-8C33-82D483E0FDD2}" presName="parentShp" presStyleLbl="node1" presStyleIdx="3" presStyleCnt="4" custScaleX="611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69638B5-0B81-4667-BD6A-868725C21E29}" type="pres">
      <dgm:prSet presAssocID="{149E61E6-8139-40F1-8C33-82D483E0FDD2}" presName="childShp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62D5A1E-B267-45DC-992A-F73D4E2EEAD9}" type="presOf" srcId="{149E61E6-8139-40F1-8C33-82D483E0FDD2}" destId="{D372631C-CEA5-4DC2-B55E-86DF2F2DBB96}" srcOrd="0" destOrd="0" presId="urn:microsoft.com/office/officeart/2005/8/layout/vList6"/>
    <dgm:cxn modelId="{E4DED291-BF94-48CA-BF9E-370F5DB31F38}" srcId="{F7C1909F-E8C9-4825-B3A8-099A5BB91992}" destId="{04CEF5EA-6268-489C-8B01-D49E9FA87C20}" srcOrd="1" destOrd="0" parTransId="{789626B0-DD1A-42C6-8816-76AEDDD1AFCF}" sibTransId="{3A032114-1D10-4417-8C84-0A3A29CABA02}"/>
    <dgm:cxn modelId="{99D4F32F-7659-4266-8B22-ADE98E1B3C66}" type="presOf" srcId="{04CEF5EA-6268-489C-8B01-D49E9FA87C20}" destId="{83CB6785-6056-44BC-BD74-46AA6BD18D42}" srcOrd="0" destOrd="1" presId="urn:microsoft.com/office/officeart/2005/8/layout/vList6"/>
    <dgm:cxn modelId="{32CC3227-743D-4AF3-87FA-928C54AA7ED5}" srcId="{149E61E6-8139-40F1-8C33-82D483E0FDD2}" destId="{957483D2-99E7-4517-A02D-E6C8255B6FE1}" srcOrd="1" destOrd="0" parTransId="{06F03BBB-4FD3-4AD6-A1FE-6502D31236B0}" sibTransId="{543E87E9-8C31-492C-AD3C-0804124DC472}"/>
    <dgm:cxn modelId="{DDE56B61-EEA2-4F6F-8AFD-869427F8BBDA}" srcId="{7ECCA724-E0A7-4BDC-A79F-389BBEE96A02}" destId="{9D06556D-820F-44C9-B705-D3690C186F4B}" srcOrd="1" destOrd="0" parTransId="{48A36C61-9035-47AA-B97A-A466716A9190}" sibTransId="{2D3D1B8E-22C2-41F1-91D5-B433308E47AC}"/>
    <dgm:cxn modelId="{120DEA8E-0596-4977-99EA-4DB45F1B059B}" srcId="{97346364-C09A-4C49-9A55-999D0EAB80AD}" destId="{CF05CD74-5CC2-4F11-8518-89B6DD68C135}" srcOrd="1" destOrd="0" parTransId="{78736EDC-DD69-4FB3-A762-A5AC9A77992E}" sibTransId="{A9C154A7-0A56-483E-9CF9-0574FEF83D96}"/>
    <dgm:cxn modelId="{3FC0D8C7-369B-44BD-9544-2F30F2CEB860}" srcId="{9D06556D-820F-44C9-B705-D3690C186F4B}" destId="{47615E22-55C0-468E-8B41-187C90BFFC6C}" srcOrd="0" destOrd="0" parTransId="{FB944153-3B28-43E6-91D3-2C785EB9AC4A}" sibTransId="{8E533691-71C2-42D0-9A40-D685D510BDFD}"/>
    <dgm:cxn modelId="{080AB171-78C8-4B21-8DA0-7A4E8181F30F}" type="presOf" srcId="{44D0F0E5-00CE-4085-9DD8-3662A7866C44}" destId="{83CB6785-6056-44BC-BD74-46AA6BD18D42}" srcOrd="0" destOrd="0" presId="urn:microsoft.com/office/officeart/2005/8/layout/vList6"/>
    <dgm:cxn modelId="{EBD5D015-A417-429D-A9D1-3BDD6485557F}" type="presOf" srcId="{CF05CD74-5CC2-4F11-8518-89B6DD68C135}" destId="{EEA5CEB5-F08E-4B13-BE6E-ED017DAE86A0}" srcOrd="0" destOrd="1" presId="urn:microsoft.com/office/officeart/2005/8/layout/vList6"/>
    <dgm:cxn modelId="{11ADE673-B25B-4D6A-9216-198284BEEB5A}" srcId="{9D06556D-820F-44C9-B705-D3690C186F4B}" destId="{AE1B3EB5-3921-4B77-A941-957421732FAA}" srcOrd="1" destOrd="0" parTransId="{987FA87F-4FE2-4B29-8998-71AEDE7DBC42}" sibTransId="{8DAC07A3-E68E-4F79-A5DB-BB99F0013601}"/>
    <dgm:cxn modelId="{793EBB8D-A8D7-44A1-BDAB-B259A807F708}" type="presOf" srcId="{9D06556D-820F-44C9-B705-D3690C186F4B}" destId="{E133BF8B-2C15-48EE-82D2-E7D39596B384}" srcOrd="0" destOrd="0" presId="urn:microsoft.com/office/officeart/2005/8/layout/vList6"/>
    <dgm:cxn modelId="{C8E1F1F1-DE69-4037-A12F-2E0AB208D1E8}" type="presOf" srcId="{957483D2-99E7-4517-A02D-E6C8255B6FE1}" destId="{169638B5-0B81-4667-BD6A-868725C21E29}" srcOrd="0" destOrd="1" presId="urn:microsoft.com/office/officeart/2005/8/layout/vList6"/>
    <dgm:cxn modelId="{A5AC1F53-A44B-431F-BD78-A70B9D9E9335}" type="presOf" srcId="{FA8FC034-B53C-4A97-873C-6C19F9DC69B8}" destId="{EEA5CEB5-F08E-4B13-BE6E-ED017DAE86A0}" srcOrd="0" destOrd="0" presId="urn:microsoft.com/office/officeart/2005/8/layout/vList6"/>
    <dgm:cxn modelId="{6B337D79-07DC-48CC-84C4-00841BD8B8C6}" type="presOf" srcId="{AE1B3EB5-3921-4B77-A941-957421732FAA}" destId="{63BF589A-45AA-4199-B736-57891516CCD2}" srcOrd="0" destOrd="1" presId="urn:microsoft.com/office/officeart/2005/8/layout/vList6"/>
    <dgm:cxn modelId="{B3AEF68B-10D2-4A85-A1B9-057AFD5E42E9}" type="presOf" srcId="{7ECCA724-E0A7-4BDC-A79F-389BBEE96A02}" destId="{15149BA6-9F6B-4C07-A5D5-848E9D96243A}" srcOrd="0" destOrd="0" presId="urn:microsoft.com/office/officeart/2005/8/layout/vList6"/>
    <dgm:cxn modelId="{538C4B14-23A7-442E-9AEB-CC4DF9B7F972}" srcId="{7ECCA724-E0A7-4BDC-A79F-389BBEE96A02}" destId="{97346364-C09A-4C49-9A55-999D0EAB80AD}" srcOrd="0" destOrd="0" parTransId="{F717739A-ACE3-4F80-8E37-2DD90507D5E5}" sibTransId="{280D5740-FE99-4C66-9883-4C9C416E43BC}"/>
    <dgm:cxn modelId="{D19079DD-D822-4B4E-87D4-0C9E4D66E483}" srcId="{149E61E6-8139-40F1-8C33-82D483E0FDD2}" destId="{44E94457-09A2-4801-80FD-2B713BEFA55B}" srcOrd="0" destOrd="0" parTransId="{4B3634AA-57CD-4023-800E-444335C7DCE5}" sibTransId="{6A92078C-1EE6-4908-A8F0-87BD6C9891F7}"/>
    <dgm:cxn modelId="{2AF403B6-B52C-49D1-80B7-75D4CF9C0D86}" srcId="{F7C1909F-E8C9-4825-B3A8-099A5BB91992}" destId="{44D0F0E5-00CE-4085-9DD8-3662A7866C44}" srcOrd="0" destOrd="0" parTransId="{F2241192-00E7-445C-9AB9-A9B755004351}" sibTransId="{3D15CCDD-408E-4FDA-AFAD-DF14A409FCC7}"/>
    <dgm:cxn modelId="{8F12F934-CA4C-44DE-88EB-54BB007061A8}" type="presOf" srcId="{47615E22-55C0-468E-8B41-187C90BFFC6C}" destId="{63BF589A-45AA-4199-B736-57891516CCD2}" srcOrd="0" destOrd="0" presId="urn:microsoft.com/office/officeart/2005/8/layout/vList6"/>
    <dgm:cxn modelId="{3E164B42-6598-458D-A8F5-5970B1E52A70}" srcId="{7ECCA724-E0A7-4BDC-A79F-389BBEE96A02}" destId="{149E61E6-8139-40F1-8C33-82D483E0FDD2}" srcOrd="3" destOrd="0" parTransId="{56243DFA-72E0-4915-82FE-5A775999248E}" sibTransId="{A2F2BCCB-9801-4949-B788-1B9E0B9CD01F}"/>
    <dgm:cxn modelId="{6D3D110F-6E24-4264-A8F2-883944F90EED}" type="presOf" srcId="{44E94457-09A2-4801-80FD-2B713BEFA55B}" destId="{169638B5-0B81-4667-BD6A-868725C21E29}" srcOrd="0" destOrd="0" presId="urn:microsoft.com/office/officeart/2005/8/layout/vList6"/>
    <dgm:cxn modelId="{7051A5B3-850B-42EA-9C8A-77E271F13367}" srcId="{97346364-C09A-4C49-9A55-999D0EAB80AD}" destId="{FA8FC034-B53C-4A97-873C-6C19F9DC69B8}" srcOrd="0" destOrd="0" parTransId="{8607F873-8809-466E-9A62-D866B9CA1734}" sibTransId="{9494E204-E4FC-4453-95C1-772BA07E8260}"/>
    <dgm:cxn modelId="{C81FFEB1-2629-4715-A602-FD3D027E4BF3}" type="presOf" srcId="{97346364-C09A-4C49-9A55-999D0EAB80AD}" destId="{6F06BEE9-D6EE-43D0-BD9D-7B8AD778C586}" srcOrd="0" destOrd="0" presId="urn:microsoft.com/office/officeart/2005/8/layout/vList6"/>
    <dgm:cxn modelId="{6D65A7DB-D627-4B21-A332-5B414E626D2E}" srcId="{7ECCA724-E0A7-4BDC-A79F-389BBEE96A02}" destId="{F7C1909F-E8C9-4825-B3A8-099A5BB91992}" srcOrd="2" destOrd="0" parTransId="{1FC28749-BD19-4C5D-973D-186C8980F5B2}" sibTransId="{11522B97-85F1-4D50-91A5-412DD2E0B922}"/>
    <dgm:cxn modelId="{B96B5369-5755-484D-AFAB-AAF5B1259B39}" type="presOf" srcId="{F7C1909F-E8C9-4825-B3A8-099A5BB91992}" destId="{F29317F7-84F7-4414-AC2E-6A5A6627B977}" srcOrd="0" destOrd="0" presId="urn:microsoft.com/office/officeart/2005/8/layout/vList6"/>
    <dgm:cxn modelId="{6BB1DD32-4DD7-40CD-BA89-C0C99846286F}" type="presParOf" srcId="{15149BA6-9F6B-4C07-A5D5-848E9D96243A}" destId="{CFAF49E9-DCAF-4894-A6A7-0EAEE4255422}" srcOrd="0" destOrd="0" presId="urn:microsoft.com/office/officeart/2005/8/layout/vList6"/>
    <dgm:cxn modelId="{BA291587-BF94-47AF-B6A1-9E4D544FF93B}" type="presParOf" srcId="{CFAF49E9-DCAF-4894-A6A7-0EAEE4255422}" destId="{6F06BEE9-D6EE-43D0-BD9D-7B8AD778C586}" srcOrd="0" destOrd="0" presId="urn:microsoft.com/office/officeart/2005/8/layout/vList6"/>
    <dgm:cxn modelId="{8E6090BB-2931-46A3-8758-82C7C74B436B}" type="presParOf" srcId="{CFAF49E9-DCAF-4894-A6A7-0EAEE4255422}" destId="{EEA5CEB5-F08E-4B13-BE6E-ED017DAE86A0}" srcOrd="1" destOrd="0" presId="urn:microsoft.com/office/officeart/2005/8/layout/vList6"/>
    <dgm:cxn modelId="{7027355C-7544-4629-835A-C8B36B08A0FF}" type="presParOf" srcId="{15149BA6-9F6B-4C07-A5D5-848E9D96243A}" destId="{0808D146-D020-45D8-914D-709D00731EE2}" srcOrd="1" destOrd="0" presId="urn:microsoft.com/office/officeart/2005/8/layout/vList6"/>
    <dgm:cxn modelId="{E0048E0F-6155-4D18-84B5-7EC57EFD0F0C}" type="presParOf" srcId="{15149BA6-9F6B-4C07-A5D5-848E9D96243A}" destId="{F01C2A4C-5BA2-4589-9E94-FE79C4248310}" srcOrd="2" destOrd="0" presId="urn:microsoft.com/office/officeart/2005/8/layout/vList6"/>
    <dgm:cxn modelId="{D82B7A9A-1543-4013-8E2B-61ABD41DF679}" type="presParOf" srcId="{F01C2A4C-5BA2-4589-9E94-FE79C4248310}" destId="{E133BF8B-2C15-48EE-82D2-E7D39596B384}" srcOrd="0" destOrd="0" presId="urn:microsoft.com/office/officeart/2005/8/layout/vList6"/>
    <dgm:cxn modelId="{B52D6C3E-BC98-49ED-ADBE-29D4F7D9D9E5}" type="presParOf" srcId="{F01C2A4C-5BA2-4589-9E94-FE79C4248310}" destId="{63BF589A-45AA-4199-B736-57891516CCD2}" srcOrd="1" destOrd="0" presId="urn:microsoft.com/office/officeart/2005/8/layout/vList6"/>
    <dgm:cxn modelId="{2DD61027-A93B-4A74-9FD6-4A059D621CCB}" type="presParOf" srcId="{15149BA6-9F6B-4C07-A5D5-848E9D96243A}" destId="{EEA00947-4591-42D2-B7BB-F78C100EB8F7}" srcOrd="3" destOrd="0" presId="urn:microsoft.com/office/officeart/2005/8/layout/vList6"/>
    <dgm:cxn modelId="{9F01D055-9DB9-42A3-A4C5-9961B16563F1}" type="presParOf" srcId="{15149BA6-9F6B-4C07-A5D5-848E9D96243A}" destId="{681006CE-88D1-4328-93CB-A36D81C4C4A3}" srcOrd="4" destOrd="0" presId="urn:microsoft.com/office/officeart/2005/8/layout/vList6"/>
    <dgm:cxn modelId="{6A3368AB-5537-4B99-80F2-0BD623DA966E}" type="presParOf" srcId="{681006CE-88D1-4328-93CB-A36D81C4C4A3}" destId="{F29317F7-84F7-4414-AC2E-6A5A6627B977}" srcOrd="0" destOrd="0" presId="urn:microsoft.com/office/officeart/2005/8/layout/vList6"/>
    <dgm:cxn modelId="{7D0E34A2-169A-4A33-92B0-ABB759A73A15}" type="presParOf" srcId="{681006CE-88D1-4328-93CB-A36D81C4C4A3}" destId="{83CB6785-6056-44BC-BD74-46AA6BD18D42}" srcOrd="1" destOrd="0" presId="urn:microsoft.com/office/officeart/2005/8/layout/vList6"/>
    <dgm:cxn modelId="{3A838213-5291-4F3A-A93C-9C41FE549EF4}" type="presParOf" srcId="{15149BA6-9F6B-4C07-A5D5-848E9D96243A}" destId="{B3932B3C-CA28-4F35-BD8F-9909183A4B86}" srcOrd="5" destOrd="0" presId="urn:microsoft.com/office/officeart/2005/8/layout/vList6"/>
    <dgm:cxn modelId="{B9F9708E-C71F-4D20-B881-0B35FE3551EC}" type="presParOf" srcId="{15149BA6-9F6B-4C07-A5D5-848E9D96243A}" destId="{3D8A21C0-545D-4715-BF27-03ACDBE498CE}" srcOrd="6" destOrd="0" presId="urn:microsoft.com/office/officeart/2005/8/layout/vList6"/>
    <dgm:cxn modelId="{25736C5A-C0EF-4D94-A1DF-702697CB0811}" type="presParOf" srcId="{3D8A21C0-545D-4715-BF27-03ACDBE498CE}" destId="{D372631C-CEA5-4DC2-B55E-86DF2F2DBB96}" srcOrd="0" destOrd="0" presId="urn:microsoft.com/office/officeart/2005/8/layout/vList6"/>
    <dgm:cxn modelId="{14CD1C31-5645-404A-B988-50DDAE7D34B7}" type="presParOf" srcId="{3D8A21C0-545D-4715-BF27-03ACDBE498CE}" destId="{169638B5-0B81-4667-BD6A-868725C21E29}" srcOrd="1" destOrd="0" presId="urn:microsoft.com/office/officeart/2005/8/layout/vList6"/>
  </dgm:cxnLst>
  <dgm:bg/>
  <dgm:whole/>
  <dgm:extLst>
    <a:ext uri="http://schemas.microsoft.com/office/drawing/2008/diagram">
      <dsp:dataModelExt xmlns="" xmlns:dsp="http://schemas.microsoft.com/office/drawing/2008/diagram" relId="rId2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E55E0E6-770F-4541-917B-A740FFCE4299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A743627D-DBDC-41BB-A5C6-6402171E025D}">
      <dgm:prSet phldrT="[Text]"/>
      <dgm:spPr/>
      <dgm:t>
        <a:bodyPr/>
        <a:lstStyle/>
        <a:p>
          <a:r>
            <a:rPr lang="zh-CN" altLang="en-US" b="1" dirty="0" smtClean="0"/>
            <a:t>确定一个切合实际的职业定位和职业目标</a:t>
          </a:r>
          <a:endParaRPr lang="zh-CN" altLang="en-US" b="1" dirty="0"/>
        </a:p>
      </dgm:t>
    </dgm:pt>
    <dgm:pt modelId="{D52ED5CD-B2A8-428B-B672-62A22DC5F843}" type="parTrans" cxnId="{66B40ED0-5387-4BFE-98CB-FBC5DA4AB91B}">
      <dgm:prSet/>
      <dgm:spPr/>
      <dgm:t>
        <a:bodyPr/>
        <a:lstStyle/>
        <a:p>
          <a:endParaRPr lang="zh-CN" altLang="en-US" b="1"/>
        </a:p>
      </dgm:t>
    </dgm:pt>
    <dgm:pt modelId="{457FFF9F-0A25-4251-B09C-4521EE57A8D3}" type="sibTrans" cxnId="{66B40ED0-5387-4BFE-98CB-FBC5DA4AB91B}">
      <dgm:prSet/>
      <dgm:spPr/>
      <dgm:t>
        <a:bodyPr/>
        <a:lstStyle/>
        <a:p>
          <a:endParaRPr lang="zh-CN" altLang="en-US" b="1"/>
        </a:p>
      </dgm:t>
    </dgm:pt>
    <dgm:pt modelId="{2652593C-57C3-4B09-B52A-91F4FBB5587B}">
      <dgm:prSet phldrT="[Text]"/>
      <dgm:spPr/>
      <dgm:t>
        <a:bodyPr/>
        <a:lstStyle/>
        <a:p>
          <a:r>
            <a:rPr lang="zh-CN" altLang="en-US" b="1" dirty="0" smtClean="0"/>
            <a:t>把目标进行分解</a:t>
          </a:r>
          <a:endParaRPr lang="zh-CN" altLang="en-US" b="1" dirty="0"/>
        </a:p>
      </dgm:t>
    </dgm:pt>
    <dgm:pt modelId="{F25C7096-1546-4B5B-BE19-3551E3FF4A22}" type="parTrans" cxnId="{2CA887AC-AD11-4614-9C62-00F5966FE169}">
      <dgm:prSet/>
      <dgm:spPr/>
      <dgm:t>
        <a:bodyPr/>
        <a:lstStyle/>
        <a:p>
          <a:endParaRPr lang="zh-CN" altLang="en-US" b="1"/>
        </a:p>
      </dgm:t>
    </dgm:pt>
    <dgm:pt modelId="{11C31A24-29D4-46C9-8430-7C9C1EA45D26}" type="sibTrans" cxnId="{2CA887AC-AD11-4614-9C62-00F5966FE169}">
      <dgm:prSet/>
      <dgm:spPr/>
      <dgm:t>
        <a:bodyPr/>
        <a:lstStyle/>
        <a:p>
          <a:endParaRPr lang="zh-CN" altLang="en-US" b="1"/>
        </a:p>
      </dgm:t>
    </dgm:pt>
    <dgm:pt modelId="{84327A6E-826B-44B1-BA4A-EC6E26D37325}">
      <dgm:prSet phldrT="[Text]"/>
      <dgm:spPr/>
      <dgm:t>
        <a:bodyPr/>
        <a:lstStyle/>
        <a:p>
          <a:r>
            <a:rPr lang="zh-CN" altLang="en-US" b="1" dirty="0" smtClean="0"/>
            <a:t>设计出合理的职业生涯规划图</a:t>
          </a:r>
          <a:endParaRPr lang="zh-CN" altLang="en-US" b="1" dirty="0"/>
        </a:p>
      </dgm:t>
    </dgm:pt>
    <dgm:pt modelId="{3298E815-6498-4018-92F5-EC29A9102B33}" type="parTrans" cxnId="{002276EC-25A6-41E0-AA5E-7CF8220F952D}">
      <dgm:prSet/>
      <dgm:spPr/>
      <dgm:t>
        <a:bodyPr/>
        <a:lstStyle/>
        <a:p>
          <a:endParaRPr lang="zh-CN" altLang="en-US" b="1"/>
        </a:p>
      </dgm:t>
    </dgm:pt>
    <dgm:pt modelId="{326217D8-8870-46FE-A352-143972E0E77E}" type="sibTrans" cxnId="{002276EC-25A6-41E0-AA5E-7CF8220F952D}">
      <dgm:prSet/>
      <dgm:spPr/>
      <dgm:t>
        <a:bodyPr/>
        <a:lstStyle/>
        <a:p>
          <a:endParaRPr lang="zh-CN" altLang="en-US" b="1"/>
        </a:p>
      </dgm:t>
    </dgm:pt>
    <dgm:pt modelId="{91514AC9-1B48-4E9F-9D23-841BDD6ECC16}">
      <dgm:prSet phldrT="[Text]"/>
      <dgm:spPr/>
      <dgm:t>
        <a:bodyPr/>
        <a:lstStyle/>
        <a:p>
          <a:r>
            <a:rPr lang="zh-CN" altLang="en-US" b="1" dirty="0" smtClean="0"/>
            <a:t>付诸行动，不断努力和调整</a:t>
          </a:r>
          <a:endParaRPr lang="zh-CN" altLang="en-US" b="1" dirty="0"/>
        </a:p>
      </dgm:t>
    </dgm:pt>
    <dgm:pt modelId="{3AB4A81B-7F66-4C3C-8223-303C3E6A280F}" type="parTrans" cxnId="{E348D89C-3DB4-4116-938B-D0A88A463517}">
      <dgm:prSet/>
      <dgm:spPr/>
      <dgm:t>
        <a:bodyPr/>
        <a:lstStyle/>
        <a:p>
          <a:endParaRPr lang="zh-CN" altLang="en-US" b="1"/>
        </a:p>
      </dgm:t>
    </dgm:pt>
    <dgm:pt modelId="{45383E37-8B19-4BD7-8E34-3A333ED0FCC6}" type="sibTrans" cxnId="{E348D89C-3DB4-4116-938B-D0A88A463517}">
      <dgm:prSet/>
      <dgm:spPr/>
      <dgm:t>
        <a:bodyPr/>
        <a:lstStyle/>
        <a:p>
          <a:endParaRPr lang="zh-CN" altLang="en-US" b="1"/>
        </a:p>
      </dgm:t>
    </dgm:pt>
    <dgm:pt modelId="{8AB792C4-9C73-4B9D-94C5-1D14F368A261}">
      <dgm:prSet phldrT="[Text]"/>
      <dgm:spPr/>
      <dgm:t>
        <a:bodyPr/>
        <a:lstStyle/>
        <a:p>
          <a:r>
            <a:rPr lang="zh-CN" altLang="en-US" b="1" dirty="0" smtClean="0"/>
            <a:t>实现我们的职业发展目标</a:t>
          </a:r>
          <a:endParaRPr lang="zh-CN" altLang="en-US" b="1" dirty="0"/>
        </a:p>
      </dgm:t>
    </dgm:pt>
    <dgm:pt modelId="{E49218C6-8A98-4B16-B6B8-5F9FF71C7703}" type="parTrans" cxnId="{2975EA3B-61B2-4042-9746-CE36D637B32B}">
      <dgm:prSet/>
      <dgm:spPr/>
      <dgm:t>
        <a:bodyPr/>
        <a:lstStyle/>
        <a:p>
          <a:endParaRPr lang="zh-CN" altLang="en-US" b="1"/>
        </a:p>
      </dgm:t>
    </dgm:pt>
    <dgm:pt modelId="{A17E0422-1A72-43FC-A498-49FA696E9ADD}" type="sibTrans" cxnId="{2975EA3B-61B2-4042-9746-CE36D637B32B}">
      <dgm:prSet/>
      <dgm:spPr/>
      <dgm:t>
        <a:bodyPr/>
        <a:lstStyle/>
        <a:p>
          <a:endParaRPr lang="zh-CN" altLang="en-US" b="1"/>
        </a:p>
      </dgm:t>
    </dgm:pt>
    <dgm:pt modelId="{4523761A-AB57-498F-A325-37D050C5C407}">
      <dgm:prSet phldrT="[Text]"/>
      <dgm:spPr/>
      <dgm:t>
        <a:bodyPr/>
        <a:lstStyle/>
        <a:p>
          <a:endParaRPr lang="zh-CN" altLang="en-US"/>
        </a:p>
      </dgm:t>
    </dgm:pt>
    <dgm:pt modelId="{C8E1675C-57D3-41A1-A560-46D842C537AD}" type="parTrans" cxnId="{8A2FF565-25B2-4309-9B0F-DF63D8F430BA}">
      <dgm:prSet/>
      <dgm:spPr/>
      <dgm:t>
        <a:bodyPr/>
        <a:lstStyle/>
        <a:p>
          <a:endParaRPr lang="zh-CN" altLang="en-US" b="1"/>
        </a:p>
      </dgm:t>
    </dgm:pt>
    <dgm:pt modelId="{46A0E7E9-10C9-41FB-B14D-C778851161B4}" type="sibTrans" cxnId="{8A2FF565-25B2-4309-9B0F-DF63D8F430BA}">
      <dgm:prSet/>
      <dgm:spPr/>
      <dgm:t>
        <a:bodyPr/>
        <a:lstStyle/>
        <a:p>
          <a:endParaRPr lang="zh-CN" altLang="en-US" b="1"/>
        </a:p>
      </dgm:t>
    </dgm:pt>
    <dgm:pt modelId="{D5B5A2A3-E450-4B97-B026-FFDDF84A0274}" type="pres">
      <dgm:prSet presAssocID="{9E55E0E6-770F-4541-917B-A740FFCE4299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1B981B45-CC53-4DD4-9616-55303C1F1115}" type="pres">
      <dgm:prSet presAssocID="{9E55E0E6-770F-4541-917B-A740FFCE4299}" presName="dummyMaxCanvas" presStyleCnt="0">
        <dgm:presLayoutVars/>
      </dgm:prSet>
      <dgm:spPr/>
    </dgm:pt>
    <dgm:pt modelId="{FCF5ED76-AD77-4719-A653-B2BD7CB6E92D}" type="pres">
      <dgm:prSet presAssocID="{9E55E0E6-770F-4541-917B-A740FFCE4299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2C418FE-C47C-4186-8A11-DDD61BFB3E42}" type="pres">
      <dgm:prSet presAssocID="{9E55E0E6-770F-4541-917B-A740FFCE4299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1136F15-BF95-4C65-9A9F-12A1751C0206}" type="pres">
      <dgm:prSet presAssocID="{9E55E0E6-770F-4541-917B-A740FFCE4299}" presName="FiveNodes_3" presStyleLbl="node1" presStyleIdx="2" presStyleCnt="5" custScaleX="8403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8E1988D-B6B2-40D3-85B2-A4E5A14F4F1B}" type="pres">
      <dgm:prSet presAssocID="{9E55E0E6-770F-4541-917B-A740FFCE4299}" presName="FiveNodes_4" presStyleLbl="node1" presStyleIdx="3" presStyleCnt="5" custScaleX="68411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1E74073-F232-4368-B3D9-2BC541E0F0DB}" type="pres">
      <dgm:prSet presAssocID="{9E55E0E6-770F-4541-917B-A740FFCE4299}" presName="FiveNodes_5" presStyleLbl="node1" presStyleIdx="4" presStyleCnt="5" custScaleX="7417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7DD9025-1C1E-4ECC-9B5A-0BBB565BF788}" type="pres">
      <dgm:prSet presAssocID="{9E55E0E6-770F-4541-917B-A740FFCE4299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68D1B0-3D12-4F15-81F2-321489330F0B}" type="pres">
      <dgm:prSet presAssocID="{9E55E0E6-770F-4541-917B-A740FFCE4299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245DCB5-635D-4178-8D9E-B2B9ABDDF1F9}" type="pres">
      <dgm:prSet presAssocID="{9E55E0E6-770F-4541-917B-A740FFCE4299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30541D8-B362-4FB4-BE2E-574921690571}" type="pres">
      <dgm:prSet presAssocID="{9E55E0E6-770F-4541-917B-A740FFCE4299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1554F84-A2D3-4209-AF67-0BA66F422937}" type="pres">
      <dgm:prSet presAssocID="{9E55E0E6-770F-4541-917B-A740FFCE4299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AC66A379-CAB6-4C3C-9633-51D059406EC7}" type="pres">
      <dgm:prSet presAssocID="{9E55E0E6-770F-4541-917B-A740FFCE4299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BD3A3C5-88EE-4642-8FF8-780F02794E0B}" type="pres">
      <dgm:prSet presAssocID="{9E55E0E6-770F-4541-917B-A740FFCE4299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0BECFDF-AE2A-4D35-A87E-66CA96EABF9E}" type="pres">
      <dgm:prSet presAssocID="{9E55E0E6-770F-4541-917B-A740FFCE4299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A341F27-112C-4683-9B43-F74B2B0C675B}" type="pres">
      <dgm:prSet presAssocID="{9E55E0E6-770F-4541-917B-A740FFCE4299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2CA887AC-AD11-4614-9C62-00F5966FE169}" srcId="{9E55E0E6-770F-4541-917B-A740FFCE4299}" destId="{2652593C-57C3-4B09-B52A-91F4FBB5587B}" srcOrd="1" destOrd="0" parTransId="{F25C7096-1546-4B5B-BE19-3551E3FF4A22}" sibTransId="{11C31A24-29D4-46C9-8430-7C9C1EA45D26}"/>
    <dgm:cxn modelId="{CFD8EE12-C532-4BBE-A11F-E0E6A626FECF}" type="presOf" srcId="{45383E37-8B19-4BD7-8E34-3A333ED0FCC6}" destId="{130541D8-B362-4FB4-BE2E-574921690571}" srcOrd="0" destOrd="0" presId="urn:microsoft.com/office/officeart/2005/8/layout/vProcess5"/>
    <dgm:cxn modelId="{E3BB8E23-1517-4488-BCD7-9CF0FEA5BE72}" type="presOf" srcId="{84327A6E-826B-44B1-BA4A-EC6E26D37325}" destId="{91136F15-BF95-4C65-9A9F-12A1751C0206}" srcOrd="0" destOrd="0" presId="urn:microsoft.com/office/officeart/2005/8/layout/vProcess5"/>
    <dgm:cxn modelId="{268B0624-3997-4538-97C0-047BA88A7CAF}" type="presOf" srcId="{91514AC9-1B48-4E9F-9D23-841BDD6ECC16}" destId="{80BECFDF-AE2A-4D35-A87E-66CA96EABF9E}" srcOrd="1" destOrd="0" presId="urn:microsoft.com/office/officeart/2005/8/layout/vProcess5"/>
    <dgm:cxn modelId="{66B40ED0-5387-4BFE-98CB-FBC5DA4AB91B}" srcId="{9E55E0E6-770F-4541-917B-A740FFCE4299}" destId="{A743627D-DBDC-41BB-A5C6-6402171E025D}" srcOrd="0" destOrd="0" parTransId="{D52ED5CD-B2A8-428B-B672-62A22DC5F843}" sibTransId="{457FFF9F-0A25-4251-B09C-4521EE57A8D3}"/>
    <dgm:cxn modelId="{B65A592C-1BAF-45F7-81D1-07357AFE4FC4}" type="presOf" srcId="{84327A6E-826B-44B1-BA4A-EC6E26D37325}" destId="{BBD3A3C5-88EE-4642-8FF8-780F02794E0B}" srcOrd="1" destOrd="0" presId="urn:microsoft.com/office/officeart/2005/8/layout/vProcess5"/>
    <dgm:cxn modelId="{7C23EA68-D805-41AF-9F1A-D09C709D4DE3}" type="presOf" srcId="{8AB792C4-9C73-4B9D-94C5-1D14F368A261}" destId="{11E74073-F232-4368-B3D9-2BC541E0F0DB}" srcOrd="0" destOrd="0" presId="urn:microsoft.com/office/officeart/2005/8/layout/vProcess5"/>
    <dgm:cxn modelId="{002276EC-25A6-41E0-AA5E-7CF8220F952D}" srcId="{9E55E0E6-770F-4541-917B-A740FFCE4299}" destId="{84327A6E-826B-44B1-BA4A-EC6E26D37325}" srcOrd="2" destOrd="0" parTransId="{3298E815-6498-4018-92F5-EC29A9102B33}" sibTransId="{326217D8-8870-46FE-A352-143972E0E77E}"/>
    <dgm:cxn modelId="{E348D89C-3DB4-4116-938B-D0A88A463517}" srcId="{9E55E0E6-770F-4541-917B-A740FFCE4299}" destId="{91514AC9-1B48-4E9F-9D23-841BDD6ECC16}" srcOrd="3" destOrd="0" parTransId="{3AB4A81B-7F66-4C3C-8223-303C3E6A280F}" sibTransId="{45383E37-8B19-4BD7-8E34-3A333ED0FCC6}"/>
    <dgm:cxn modelId="{D70F9CAB-1756-4215-AB96-D6A60F325C69}" type="presOf" srcId="{326217D8-8870-46FE-A352-143972E0E77E}" destId="{D245DCB5-635D-4178-8D9E-B2B9ABDDF1F9}" srcOrd="0" destOrd="0" presId="urn:microsoft.com/office/officeart/2005/8/layout/vProcess5"/>
    <dgm:cxn modelId="{8A2FF565-25B2-4309-9B0F-DF63D8F430BA}" srcId="{9E55E0E6-770F-4541-917B-A740FFCE4299}" destId="{4523761A-AB57-498F-A325-37D050C5C407}" srcOrd="5" destOrd="0" parTransId="{C8E1675C-57D3-41A1-A560-46D842C537AD}" sibTransId="{46A0E7E9-10C9-41FB-B14D-C778851161B4}"/>
    <dgm:cxn modelId="{B0E1D9DB-C70D-489B-A05C-E0EEB2DC4E78}" type="presOf" srcId="{457FFF9F-0A25-4251-B09C-4521EE57A8D3}" destId="{77DD9025-1C1E-4ECC-9B5A-0BBB565BF788}" srcOrd="0" destOrd="0" presId="urn:microsoft.com/office/officeart/2005/8/layout/vProcess5"/>
    <dgm:cxn modelId="{7ECBBAD2-18BB-4368-B847-7404873E7058}" type="presOf" srcId="{8AB792C4-9C73-4B9D-94C5-1D14F368A261}" destId="{EA341F27-112C-4683-9B43-F74B2B0C675B}" srcOrd="1" destOrd="0" presId="urn:microsoft.com/office/officeart/2005/8/layout/vProcess5"/>
    <dgm:cxn modelId="{3A09C8B7-FDA9-4690-89CE-84AE50094CBF}" type="presOf" srcId="{9E55E0E6-770F-4541-917B-A740FFCE4299}" destId="{D5B5A2A3-E450-4B97-B026-FFDDF84A0274}" srcOrd="0" destOrd="0" presId="urn:microsoft.com/office/officeart/2005/8/layout/vProcess5"/>
    <dgm:cxn modelId="{591E0A3E-F0F4-4561-8000-03FF6B95739E}" type="presOf" srcId="{2652593C-57C3-4B09-B52A-91F4FBB5587B}" destId="{AC66A379-CAB6-4C3C-9633-51D059406EC7}" srcOrd="1" destOrd="0" presId="urn:microsoft.com/office/officeart/2005/8/layout/vProcess5"/>
    <dgm:cxn modelId="{2975EA3B-61B2-4042-9746-CE36D637B32B}" srcId="{9E55E0E6-770F-4541-917B-A740FFCE4299}" destId="{8AB792C4-9C73-4B9D-94C5-1D14F368A261}" srcOrd="4" destOrd="0" parTransId="{E49218C6-8A98-4B16-B6B8-5F9FF71C7703}" sibTransId="{A17E0422-1A72-43FC-A498-49FA696E9ADD}"/>
    <dgm:cxn modelId="{65D88799-30DC-4C33-9318-84DBDBE3292E}" type="presOf" srcId="{91514AC9-1B48-4E9F-9D23-841BDD6ECC16}" destId="{08E1988D-B6B2-40D3-85B2-A4E5A14F4F1B}" srcOrd="0" destOrd="0" presId="urn:microsoft.com/office/officeart/2005/8/layout/vProcess5"/>
    <dgm:cxn modelId="{B866EA5C-07C6-4490-9496-EEC6E86F1854}" type="presOf" srcId="{A743627D-DBDC-41BB-A5C6-6402171E025D}" destId="{FCF5ED76-AD77-4719-A653-B2BD7CB6E92D}" srcOrd="0" destOrd="0" presId="urn:microsoft.com/office/officeart/2005/8/layout/vProcess5"/>
    <dgm:cxn modelId="{7F2AF278-392B-4E8D-BDD8-09C420E6981E}" type="presOf" srcId="{A743627D-DBDC-41BB-A5C6-6402171E025D}" destId="{A1554F84-A2D3-4209-AF67-0BA66F422937}" srcOrd="1" destOrd="0" presId="urn:microsoft.com/office/officeart/2005/8/layout/vProcess5"/>
    <dgm:cxn modelId="{F8EE9160-8AEB-4EF5-8DA0-4E6FA788A85A}" type="presOf" srcId="{11C31A24-29D4-46C9-8430-7C9C1EA45D26}" destId="{DA68D1B0-3D12-4F15-81F2-321489330F0B}" srcOrd="0" destOrd="0" presId="urn:microsoft.com/office/officeart/2005/8/layout/vProcess5"/>
    <dgm:cxn modelId="{9FE837E8-8011-40DC-8E03-BED120D50E62}" type="presOf" srcId="{2652593C-57C3-4B09-B52A-91F4FBB5587B}" destId="{E2C418FE-C47C-4186-8A11-DDD61BFB3E42}" srcOrd="0" destOrd="0" presId="urn:microsoft.com/office/officeart/2005/8/layout/vProcess5"/>
    <dgm:cxn modelId="{8EE11A4F-D32A-4526-A63B-FAACF4B26B7D}" type="presParOf" srcId="{D5B5A2A3-E450-4B97-B026-FFDDF84A0274}" destId="{1B981B45-CC53-4DD4-9616-55303C1F1115}" srcOrd="0" destOrd="0" presId="urn:microsoft.com/office/officeart/2005/8/layout/vProcess5"/>
    <dgm:cxn modelId="{EEC5556B-7B33-4EAE-8F25-30A2EC7BD913}" type="presParOf" srcId="{D5B5A2A3-E450-4B97-B026-FFDDF84A0274}" destId="{FCF5ED76-AD77-4719-A653-B2BD7CB6E92D}" srcOrd="1" destOrd="0" presId="urn:microsoft.com/office/officeart/2005/8/layout/vProcess5"/>
    <dgm:cxn modelId="{792D7B1A-78BE-4EC1-8EB7-4F97727FDA7B}" type="presParOf" srcId="{D5B5A2A3-E450-4B97-B026-FFDDF84A0274}" destId="{E2C418FE-C47C-4186-8A11-DDD61BFB3E42}" srcOrd="2" destOrd="0" presId="urn:microsoft.com/office/officeart/2005/8/layout/vProcess5"/>
    <dgm:cxn modelId="{5DF9E41B-5134-4447-90A7-A5E5794688CB}" type="presParOf" srcId="{D5B5A2A3-E450-4B97-B026-FFDDF84A0274}" destId="{91136F15-BF95-4C65-9A9F-12A1751C0206}" srcOrd="3" destOrd="0" presId="urn:microsoft.com/office/officeart/2005/8/layout/vProcess5"/>
    <dgm:cxn modelId="{131D4780-3F2A-4BA9-8AF2-75846D9F30E3}" type="presParOf" srcId="{D5B5A2A3-E450-4B97-B026-FFDDF84A0274}" destId="{08E1988D-B6B2-40D3-85B2-A4E5A14F4F1B}" srcOrd="4" destOrd="0" presId="urn:microsoft.com/office/officeart/2005/8/layout/vProcess5"/>
    <dgm:cxn modelId="{C383084C-0B41-4EA4-A4AC-748EA1027833}" type="presParOf" srcId="{D5B5A2A3-E450-4B97-B026-FFDDF84A0274}" destId="{11E74073-F232-4368-B3D9-2BC541E0F0DB}" srcOrd="5" destOrd="0" presId="urn:microsoft.com/office/officeart/2005/8/layout/vProcess5"/>
    <dgm:cxn modelId="{48A424C4-C63B-4412-9FBC-527FAA135D86}" type="presParOf" srcId="{D5B5A2A3-E450-4B97-B026-FFDDF84A0274}" destId="{77DD9025-1C1E-4ECC-9B5A-0BBB565BF788}" srcOrd="6" destOrd="0" presId="urn:microsoft.com/office/officeart/2005/8/layout/vProcess5"/>
    <dgm:cxn modelId="{672AAB8A-4A56-4F13-82D9-C0C804532393}" type="presParOf" srcId="{D5B5A2A3-E450-4B97-B026-FFDDF84A0274}" destId="{DA68D1B0-3D12-4F15-81F2-321489330F0B}" srcOrd="7" destOrd="0" presId="urn:microsoft.com/office/officeart/2005/8/layout/vProcess5"/>
    <dgm:cxn modelId="{F10114FB-1F97-4F50-B714-2386F735DE4B}" type="presParOf" srcId="{D5B5A2A3-E450-4B97-B026-FFDDF84A0274}" destId="{D245DCB5-635D-4178-8D9E-B2B9ABDDF1F9}" srcOrd="8" destOrd="0" presId="urn:microsoft.com/office/officeart/2005/8/layout/vProcess5"/>
    <dgm:cxn modelId="{BE9F4CCA-D6C4-4349-9476-C1E258C9E76F}" type="presParOf" srcId="{D5B5A2A3-E450-4B97-B026-FFDDF84A0274}" destId="{130541D8-B362-4FB4-BE2E-574921690571}" srcOrd="9" destOrd="0" presId="urn:microsoft.com/office/officeart/2005/8/layout/vProcess5"/>
    <dgm:cxn modelId="{6B8F4DF8-ACB8-4180-AE8E-6505A98209C3}" type="presParOf" srcId="{D5B5A2A3-E450-4B97-B026-FFDDF84A0274}" destId="{A1554F84-A2D3-4209-AF67-0BA66F422937}" srcOrd="10" destOrd="0" presId="urn:microsoft.com/office/officeart/2005/8/layout/vProcess5"/>
    <dgm:cxn modelId="{C827717E-F88D-4398-9526-5B7844D84F71}" type="presParOf" srcId="{D5B5A2A3-E450-4B97-B026-FFDDF84A0274}" destId="{AC66A379-CAB6-4C3C-9633-51D059406EC7}" srcOrd="11" destOrd="0" presId="urn:microsoft.com/office/officeart/2005/8/layout/vProcess5"/>
    <dgm:cxn modelId="{80D126F6-AF8C-44E8-9EC0-9AE77FA4DF1C}" type="presParOf" srcId="{D5B5A2A3-E450-4B97-B026-FFDDF84A0274}" destId="{BBD3A3C5-88EE-4642-8FF8-780F02794E0B}" srcOrd="12" destOrd="0" presId="urn:microsoft.com/office/officeart/2005/8/layout/vProcess5"/>
    <dgm:cxn modelId="{5F552B4D-8802-4626-8FF2-669603B62A35}" type="presParOf" srcId="{D5B5A2A3-E450-4B97-B026-FFDDF84A0274}" destId="{80BECFDF-AE2A-4D35-A87E-66CA96EABF9E}" srcOrd="13" destOrd="0" presId="urn:microsoft.com/office/officeart/2005/8/layout/vProcess5"/>
    <dgm:cxn modelId="{91AE6A59-FF2C-4A14-947E-A6267565472C}" type="presParOf" srcId="{D5B5A2A3-E450-4B97-B026-FFDDF84A0274}" destId="{EA341F27-112C-4683-9B43-F74B2B0C675B}" srcOrd="14" destOrd="0" presId="urn:microsoft.com/office/officeart/2005/8/layout/vProcess5"/>
  </dgm:cxnLst>
  <dgm:bg/>
  <dgm:whole/>
  <dgm:extLst>
    <a:ext uri="http://schemas.microsoft.com/office/drawing/2008/diagram">
      <dsp:dataModelExt xmlns=""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2A54491-75B7-401E-A98A-337C0DDA76F2}" type="doc">
      <dgm:prSet loTypeId="urn:microsoft.com/office/officeart/2005/8/layout/cycle3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BA1C3D7D-81B1-49B6-871D-92E7FB16BC23}">
      <dgm:prSet phldrT="[Text]"/>
      <dgm:spPr/>
      <dgm:t>
        <a:bodyPr/>
        <a:lstStyle/>
        <a:p>
          <a:r>
            <a:rPr lang="zh-CN" altLang="en-US" b="1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认识自我，了解社会</a:t>
          </a:r>
          <a:endParaRPr lang="zh-CN" altLang="en-US" b="1" dirty="0"/>
        </a:p>
      </dgm:t>
    </dgm:pt>
    <dgm:pt modelId="{3ED6017A-3F54-4D80-A722-C0496234D95E}" type="parTrans" cxnId="{991D87DA-9822-4193-AED8-D43C228ADFB1}">
      <dgm:prSet/>
      <dgm:spPr/>
      <dgm:t>
        <a:bodyPr/>
        <a:lstStyle/>
        <a:p>
          <a:endParaRPr lang="zh-CN" altLang="en-US" b="1"/>
        </a:p>
      </dgm:t>
    </dgm:pt>
    <dgm:pt modelId="{0AD404C8-D062-4DA5-8ECB-FD3787F12ACD}" type="sibTrans" cxnId="{991D87DA-9822-4193-AED8-D43C228ADFB1}">
      <dgm:prSet/>
      <dgm:spPr/>
      <dgm:t>
        <a:bodyPr/>
        <a:lstStyle/>
        <a:p>
          <a:endParaRPr lang="zh-CN" altLang="en-US" b="1"/>
        </a:p>
      </dgm:t>
    </dgm:pt>
    <dgm:pt modelId="{A9AC5C54-6AD2-4709-ACB6-33E50143546C}">
      <dgm:prSet phldrT="[Text]"/>
      <dgm:spPr/>
      <dgm:t>
        <a:bodyPr/>
        <a:lstStyle/>
        <a:p>
          <a:r>
            <a:rPr lang="zh-CN" altLang="en-US" b="1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确立目标，规划未来</a:t>
          </a:r>
          <a:endParaRPr lang="zh-CN" altLang="en-US" b="1" dirty="0"/>
        </a:p>
      </dgm:t>
    </dgm:pt>
    <dgm:pt modelId="{AD152211-F219-49C8-9C18-447A2E3BB76E}" type="parTrans" cxnId="{298AEE89-2F4B-44EA-9EF6-68D2AF6900FA}">
      <dgm:prSet/>
      <dgm:spPr/>
      <dgm:t>
        <a:bodyPr/>
        <a:lstStyle/>
        <a:p>
          <a:endParaRPr lang="zh-CN" altLang="en-US" b="1"/>
        </a:p>
      </dgm:t>
    </dgm:pt>
    <dgm:pt modelId="{3692F1F1-60A7-40E1-8E6F-C6DA427CB91D}" type="sibTrans" cxnId="{298AEE89-2F4B-44EA-9EF6-68D2AF6900FA}">
      <dgm:prSet/>
      <dgm:spPr/>
      <dgm:t>
        <a:bodyPr/>
        <a:lstStyle/>
        <a:p>
          <a:endParaRPr lang="zh-CN" altLang="en-US" b="1"/>
        </a:p>
      </dgm:t>
    </dgm:pt>
    <dgm:pt modelId="{4F45D461-B421-4DF8-85EF-8D022A49F0BF}">
      <dgm:prSet phldrT="[Text]"/>
      <dgm:spPr/>
      <dgm:t>
        <a:bodyPr/>
        <a:lstStyle/>
        <a:p>
          <a:r>
            <a:rPr lang="zh-CN" altLang="en-US" b="1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构建合理的知识结构</a:t>
          </a:r>
          <a:endParaRPr lang="zh-CN" altLang="en-US" b="1" dirty="0"/>
        </a:p>
      </dgm:t>
    </dgm:pt>
    <dgm:pt modelId="{086DF303-8F17-43E1-8CA8-435E0E29CE13}" type="parTrans" cxnId="{B68F567B-9367-4691-84B3-7AF46EED97CE}">
      <dgm:prSet/>
      <dgm:spPr/>
      <dgm:t>
        <a:bodyPr/>
        <a:lstStyle/>
        <a:p>
          <a:endParaRPr lang="zh-CN" altLang="en-US" b="1"/>
        </a:p>
      </dgm:t>
    </dgm:pt>
    <dgm:pt modelId="{C5D00A5D-26BD-443D-A2A8-4B31D9E2FC0D}" type="sibTrans" cxnId="{B68F567B-9367-4691-84B3-7AF46EED97CE}">
      <dgm:prSet/>
      <dgm:spPr/>
      <dgm:t>
        <a:bodyPr/>
        <a:lstStyle/>
        <a:p>
          <a:endParaRPr lang="zh-CN" altLang="en-US" b="1"/>
        </a:p>
      </dgm:t>
    </dgm:pt>
    <dgm:pt modelId="{BD19CA90-3443-44D8-85BD-4507D930A7C1}">
      <dgm:prSet phldrT="[Text]"/>
      <dgm:spPr/>
      <dgm:t>
        <a:bodyPr/>
        <a:lstStyle/>
        <a:p>
          <a:r>
            <a:rPr lang="zh-CN" altLang="en-US" b="1" dirty="0" smtClean="0"/>
            <a:t>增强适应工作的能力</a:t>
          </a:r>
          <a:endParaRPr lang="zh-CN" altLang="en-US" b="1" dirty="0"/>
        </a:p>
      </dgm:t>
    </dgm:pt>
    <dgm:pt modelId="{324220F0-F4AB-41DD-8C48-DE1B0AD57EFF}" type="parTrans" cxnId="{1D3790E8-0D45-445B-8FD9-6AB6DE7DA7A1}">
      <dgm:prSet/>
      <dgm:spPr/>
      <dgm:t>
        <a:bodyPr/>
        <a:lstStyle/>
        <a:p>
          <a:endParaRPr lang="zh-CN" altLang="en-US" b="1"/>
        </a:p>
      </dgm:t>
    </dgm:pt>
    <dgm:pt modelId="{A6CA87FB-B328-4E72-8ACA-48CD4A71AE30}" type="sibTrans" cxnId="{1D3790E8-0D45-445B-8FD9-6AB6DE7DA7A1}">
      <dgm:prSet/>
      <dgm:spPr/>
      <dgm:t>
        <a:bodyPr/>
        <a:lstStyle/>
        <a:p>
          <a:endParaRPr lang="zh-CN" altLang="en-US" b="1"/>
        </a:p>
      </dgm:t>
    </dgm:pt>
    <dgm:pt modelId="{2C8E0E57-17F2-4E76-8B22-F8B8516A373E}">
      <dgm:prSet phldrT="[Text]"/>
      <dgm:spPr/>
      <dgm:t>
        <a:bodyPr/>
        <a:lstStyle/>
        <a:p>
          <a:r>
            <a:rPr lang="zh-CN" altLang="en-US" b="1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培养良好的心理素质</a:t>
          </a:r>
          <a:endParaRPr lang="zh-CN" altLang="en-US" b="1" dirty="0"/>
        </a:p>
      </dgm:t>
    </dgm:pt>
    <dgm:pt modelId="{6E68917E-C3D7-4399-B322-291CEE7BBC44}" type="parTrans" cxnId="{DCD63C84-5224-418A-8BEF-6CBAE999FB8B}">
      <dgm:prSet/>
      <dgm:spPr/>
      <dgm:t>
        <a:bodyPr/>
        <a:lstStyle/>
        <a:p>
          <a:endParaRPr lang="zh-CN" altLang="en-US" b="1"/>
        </a:p>
      </dgm:t>
    </dgm:pt>
    <dgm:pt modelId="{696454FE-8A18-4BF2-978A-1BCDD0D77722}" type="sibTrans" cxnId="{DCD63C84-5224-418A-8BEF-6CBAE999FB8B}">
      <dgm:prSet/>
      <dgm:spPr/>
      <dgm:t>
        <a:bodyPr/>
        <a:lstStyle/>
        <a:p>
          <a:endParaRPr lang="zh-CN" altLang="en-US" b="1"/>
        </a:p>
      </dgm:t>
    </dgm:pt>
    <dgm:pt modelId="{A679E252-0F69-4BB6-B559-8D497CB345D8}" type="pres">
      <dgm:prSet presAssocID="{E2A54491-75B7-401E-A98A-337C0DDA76F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32FA6516-6369-448E-83EA-0A6C370C1B75}" type="pres">
      <dgm:prSet presAssocID="{E2A54491-75B7-401E-A98A-337C0DDA76F2}" presName="cycle" presStyleCnt="0"/>
      <dgm:spPr/>
    </dgm:pt>
    <dgm:pt modelId="{419A754A-0E5D-4A4C-A4C2-E5A96426231C}" type="pres">
      <dgm:prSet presAssocID="{BA1C3D7D-81B1-49B6-871D-92E7FB16BC23}" presName="nodeFirs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C84496D-609A-4C07-9FE3-54202ECED7B2}" type="pres">
      <dgm:prSet presAssocID="{0AD404C8-D062-4DA5-8ECB-FD3787F12ACD}" presName="sibTransFirstNode" presStyleLbl="bgShp" presStyleIdx="0" presStyleCnt="1"/>
      <dgm:spPr/>
      <dgm:t>
        <a:bodyPr/>
        <a:lstStyle/>
        <a:p>
          <a:endParaRPr lang="zh-CN" altLang="en-US"/>
        </a:p>
      </dgm:t>
    </dgm:pt>
    <dgm:pt modelId="{68327CAA-2437-4548-B0B5-A9FA293A3D7D}" type="pres">
      <dgm:prSet presAssocID="{A9AC5C54-6AD2-4709-ACB6-33E50143546C}" presName="nodeFollowingNodes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9D8BDEC-FDE9-4888-AD54-F8FAB85D42BB}" type="pres">
      <dgm:prSet presAssocID="{4F45D461-B421-4DF8-85EF-8D022A49F0BF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0A6595B-0594-4135-B4CB-9A17D14E9EC4}" type="pres">
      <dgm:prSet presAssocID="{BD19CA90-3443-44D8-85BD-4507D930A7C1}" presName="nodeFollowingNodes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1B7824C-06F1-4D50-8441-C15D110ABE38}" type="pres">
      <dgm:prSet presAssocID="{2C8E0E57-17F2-4E76-8B22-F8B8516A373E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E74FE5D-1AF0-4141-A506-57A731B949E4}" type="presOf" srcId="{0AD404C8-D062-4DA5-8ECB-FD3787F12ACD}" destId="{6C84496D-609A-4C07-9FE3-54202ECED7B2}" srcOrd="0" destOrd="0" presId="urn:microsoft.com/office/officeart/2005/8/layout/cycle3"/>
    <dgm:cxn modelId="{991D87DA-9822-4193-AED8-D43C228ADFB1}" srcId="{E2A54491-75B7-401E-A98A-337C0DDA76F2}" destId="{BA1C3D7D-81B1-49B6-871D-92E7FB16BC23}" srcOrd="0" destOrd="0" parTransId="{3ED6017A-3F54-4D80-A722-C0496234D95E}" sibTransId="{0AD404C8-D062-4DA5-8ECB-FD3787F12ACD}"/>
    <dgm:cxn modelId="{BFE15A5D-D69A-40C3-B53C-3CDB5DEB8351}" type="presOf" srcId="{E2A54491-75B7-401E-A98A-337C0DDA76F2}" destId="{A679E252-0F69-4BB6-B559-8D497CB345D8}" srcOrd="0" destOrd="0" presId="urn:microsoft.com/office/officeart/2005/8/layout/cycle3"/>
    <dgm:cxn modelId="{3E6A9B6A-0B4C-4FD8-B8EE-64EC2443CD92}" type="presOf" srcId="{2C8E0E57-17F2-4E76-8B22-F8B8516A373E}" destId="{21B7824C-06F1-4D50-8441-C15D110ABE38}" srcOrd="0" destOrd="0" presId="urn:microsoft.com/office/officeart/2005/8/layout/cycle3"/>
    <dgm:cxn modelId="{F51B4994-E8B7-4172-B1BA-A8F3A239899F}" type="presOf" srcId="{A9AC5C54-6AD2-4709-ACB6-33E50143546C}" destId="{68327CAA-2437-4548-B0B5-A9FA293A3D7D}" srcOrd="0" destOrd="0" presId="urn:microsoft.com/office/officeart/2005/8/layout/cycle3"/>
    <dgm:cxn modelId="{298AEE89-2F4B-44EA-9EF6-68D2AF6900FA}" srcId="{E2A54491-75B7-401E-A98A-337C0DDA76F2}" destId="{A9AC5C54-6AD2-4709-ACB6-33E50143546C}" srcOrd="1" destOrd="0" parTransId="{AD152211-F219-49C8-9C18-447A2E3BB76E}" sibTransId="{3692F1F1-60A7-40E1-8E6F-C6DA427CB91D}"/>
    <dgm:cxn modelId="{B68F567B-9367-4691-84B3-7AF46EED97CE}" srcId="{E2A54491-75B7-401E-A98A-337C0DDA76F2}" destId="{4F45D461-B421-4DF8-85EF-8D022A49F0BF}" srcOrd="2" destOrd="0" parTransId="{086DF303-8F17-43E1-8CA8-435E0E29CE13}" sibTransId="{C5D00A5D-26BD-443D-A2A8-4B31D9E2FC0D}"/>
    <dgm:cxn modelId="{5ABD98B3-AB79-485B-894F-D5C28BA5AD47}" type="presOf" srcId="{BA1C3D7D-81B1-49B6-871D-92E7FB16BC23}" destId="{419A754A-0E5D-4A4C-A4C2-E5A96426231C}" srcOrd="0" destOrd="0" presId="urn:microsoft.com/office/officeart/2005/8/layout/cycle3"/>
    <dgm:cxn modelId="{B740B893-56AE-4B8A-8B7D-866A674F1073}" type="presOf" srcId="{BD19CA90-3443-44D8-85BD-4507D930A7C1}" destId="{00A6595B-0594-4135-B4CB-9A17D14E9EC4}" srcOrd="0" destOrd="0" presId="urn:microsoft.com/office/officeart/2005/8/layout/cycle3"/>
    <dgm:cxn modelId="{1D3790E8-0D45-445B-8FD9-6AB6DE7DA7A1}" srcId="{E2A54491-75B7-401E-A98A-337C0DDA76F2}" destId="{BD19CA90-3443-44D8-85BD-4507D930A7C1}" srcOrd="3" destOrd="0" parTransId="{324220F0-F4AB-41DD-8C48-DE1B0AD57EFF}" sibTransId="{A6CA87FB-B328-4E72-8ACA-48CD4A71AE30}"/>
    <dgm:cxn modelId="{DCD63C84-5224-418A-8BEF-6CBAE999FB8B}" srcId="{E2A54491-75B7-401E-A98A-337C0DDA76F2}" destId="{2C8E0E57-17F2-4E76-8B22-F8B8516A373E}" srcOrd="4" destOrd="0" parTransId="{6E68917E-C3D7-4399-B322-291CEE7BBC44}" sibTransId="{696454FE-8A18-4BF2-978A-1BCDD0D77722}"/>
    <dgm:cxn modelId="{E3A99809-E993-40CA-AF03-1E881D29FDE6}" type="presOf" srcId="{4F45D461-B421-4DF8-85EF-8D022A49F0BF}" destId="{59D8BDEC-FDE9-4888-AD54-F8FAB85D42BB}" srcOrd="0" destOrd="0" presId="urn:microsoft.com/office/officeart/2005/8/layout/cycle3"/>
    <dgm:cxn modelId="{18C8AF8C-C156-4073-947B-D633B75035C6}" type="presParOf" srcId="{A679E252-0F69-4BB6-B559-8D497CB345D8}" destId="{32FA6516-6369-448E-83EA-0A6C370C1B75}" srcOrd="0" destOrd="0" presId="urn:microsoft.com/office/officeart/2005/8/layout/cycle3"/>
    <dgm:cxn modelId="{707CC381-25F1-4888-91F2-BB6D46D82BD7}" type="presParOf" srcId="{32FA6516-6369-448E-83EA-0A6C370C1B75}" destId="{419A754A-0E5D-4A4C-A4C2-E5A96426231C}" srcOrd="0" destOrd="0" presId="urn:microsoft.com/office/officeart/2005/8/layout/cycle3"/>
    <dgm:cxn modelId="{AA4FA668-4E7B-4D91-8443-4D5E1BF51241}" type="presParOf" srcId="{32FA6516-6369-448E-83EA-0A6C370C1B75}" destId="{6C84496D-609A-4C07-9FE3-54202ECED7B2}" srcOrd="1" destOrd="0" presId="urn:microsoft.com/office/officeart/2005/8/layout/cycle3"/>
    <dgm:cxn modelId="{70A85540-55D7-4D7A-9203-888220AA2987}" type="presParOf" srcId="{32FA6516-6369-448E-83EA-0A6C370C1B75}" destId="{68327CAA-2437-4548-B0B5-A9FA293A3D7D}" srcOrd="2" destOrd="0" presId="urn:microsoft.com/office/officeart/2005/8/layout/cycle3"/>
    <dgm:cxn modelId="{7B97F070-F5D9-48F9-BA20-EC03226C6293}" type="presParOf" srcId="{32FA6516-6369-448E-83EA-0A6C370C1B75}" destId="{59D8BDEC-FDE9-4888-AD54-F8FAB85D42BB}" srcOrd="3" destOrd="0" presId="urn:microsoft.com/office/officeart/2005/8/layout/cycle3"/>
    <dgm:cxn modelId="{652EAE1C-A11F-4BBB-BAB9-B8FEE4FBEFE6}" type="presParOf" srcId="{32FA6516-6369-448E-83EA-0A6C370C1B75}" destId="{00A6595B-0594-4135-B4CB-9A17D14E9EC4}" srcOrd="4" destOrd="0" presId="urn:microsoft.com/office/officeart/2005/8/layout/cycle3"/>
    <dgm:cxn modelId="{2E91BEB2-F3F1-4A1D-B98E-495A8744AC1B}" type="presParOf" srcId="{32FA6516-6369-448E-83EA-0A6C370C1B75}" destId="{21B7824C-06F1-4D50-8441-C15D110ABE38}" srcOrd="5" destOrd="0" presId="urn:microsoft.com/office/officeart/2005/8/layout/cycle3"/>
  </dgm:cxnLst>
  <dgm:bg/>
  <dgm:whole/>
  <dgm:extLst>
    <a:ext uri="http://schemas.microsoft.com/office/drawing/2008/diagram">
      <dsp:dataModelExt xmlns="" xmlns:dsp="http://schemas.microsoft.com/office/drawing/2008/diagram" relId="rId14" minVer="http://schemas.openxmlformats.org/drawingml/2006/diagram"/>
    </a:ext>
  </dgm:extLst>
</dgm:dataModel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F5ED76-AD77-4719-A653-B2BD7CB6E92D}">
      <dsp:nvSpPr>
        <dsp:cNvPr id="0" name=""/>
        <dsp:cNvSpPr/>
      </dsp:nvSpPr>
      <dsp:spPr>
        <a:xfrm>
          <a:off x="0" y="0"/>
          <a:ext cx="2909252" cy="7315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/>
            <a:t>确定一个切合实际的职业定位和职业目标</a:t>
          </a:r>
          <a:endParaRPr lang="zh-CN" altLang="en-US" sz="1600" b="1" kern="1200" dirty="0"/>
        </a:p>
      </dsp:txBody>
      <dsp:txXfrm>
        <a:off x="0" y="0"/>
        <a:ext cx="2077148" cy="731520"/>
      </dsp:txXfrm>
    </dsp:sp>
    <dsp:sp modelId="{E2C418FE-C47C-4186-8A11-DDD61BFB3E42}">
      <dsp:nvSpPr>
        <dsp:cNvPr id="0" name=""/>
        <dsp:cNvSpPr/>
      </dsp:nvSpPr>
      <dsp:spPr>
        <a:xfrm>
          <a:off x="217249" y="833120"/>
          <a:ext cx="2909252" cy="7315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/>
            <a:t>把目标进行分解</a:t>
          </a:r>
          <a:endParaRPr lang="zh-CN" altLang="en-US" sz="1600" b="1" kern="1200" dirty="0"/>
        </a:p>
      </dsp:txBody>
      <dsp:txXfrm>
        <a:off x="217249" y="833120"/>
        <a:ext cx="2216515" cy="731519"/>
      </dsp:txXfrm>
    </dsp:sp>
    <dsp:sp modelId="{91136F15-BF95-4C65-9A9F-12A1751C0206}">
      <dsp:nvSpPr>
        <dsp:cNvPr id="0" name=""/>
        <dsp:cNvSpPr/>
      </dsp:nvSpPr>
      <dsp:spPr>
        <a:xfrm>
          <a:off x="666744" y="1666240"/>
          <a:ext cx="2444761" cy="7315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/>
            <a:t>设计出合理的职业生涯规划图</a:t>
          </a:r>
          <a:endParaRPr lang="zh-CN" altLang="en-US" sz="1600" b="1" kern="1200" dirty="0"/>
        </a:p>
      </dsp:txBody>
      <dsp:txXfrm>
        <a:off x="666744" y="1666240"/>
        <a:ext cx="1862626" cy="731519"/>
      </dsp:txXfrm>
    </dsp:sp>
    <dsp:sp modelId="{08E1988D-B6B2-40D3-85B2-A4E5A14F4F1B}">
      <dsp:nvSpPr>
        <dsp:cNvPr id="0" name=""/>
        <dsp:cNvSpPr/>
      </dsp:nvSpPr>
      <dsp:spPr>
        <a:xfrm>
          <a:off x="1111250" y="2499360"/>
          <a:ext cx="1990248" cy="7315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/>
            <a:t>付诸行动，不断努力和调整</a:t>
          </a:r>
          <a:endParaRPr lang="zh-CN" altLang="en-US" sz="1600" b="1" kern="1200" dirty="0"/>
        </a:p>
      </dsp:txBody>
      <dsp:txXfrm>
        <a:off x="1111250" y="2499360"/>
        <a:ext cx="1516340" cy="731519"/>
      </dsp:txXfrm>
    </dsp:sp>
    <dsp:sp modelId="{11E74073-F232-4368-B3D9-2BC541E0F0DB}">
      <dsp:nvSpPr>
        <dsp:cNvPr id="0" name=""/>
        <dsp:cNvSpPr/>
      </dsp:nvSpPr>
      <dsp:spPr>
        <a:xfrm>
          <a:off x="1244596" y="3332480"/>
          <a:ext cx="2158054" cy="73152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/>
            <a:t>实现我们的职业发展目标</a:t>
          </a:r>
          <a:endParaRPr lang="zh-CN" altLang="en-US" sz="1600" b="1" kern="1200" dirty="0"/>
        </a:p>
      </dsp:txBody>
      <dsp:txXfrm>
        <a:off x="1244596" y="3332480"/>
        <a:ext cx="1644188" cy="731519"/>
      </dsp:txXfrm>
    </dsp:sp>
    <dsp:sp modelId="{77DD9025-1C1E-4ECC-9B5A-0BBB565BF788}">
      <dsp:nvSpPr>
        <dsp:cNvPr id="0" name=""/>
        <dsp:cNvSpPr/>
      </dsp:nvSpPr>
      <dsp:spPr>
        <a:xfrm>
          <a:off x="2433764" y="534415"/>
          <a:ext cx="475488" cy="47548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100" b="1" kern="1200"/>
        </a:p>
      </dsp:txBody>
      <dsp:txXfrm>
        <a:off x="2433764" y="534415"/>
        <a:ext cx="475488" cy="475488"/>
      </dsp:txXfrm>
    </dsp:sp>
    <dsp:sp modelId="{DA68D1B0-3D12-4F15-81F2-321489330F0B}">
      <dsp:nvSpPr>
        <dsp:cNvPr id="0" name=""/>
        <dsp:cNvSpPr/>
      </dsp:nvSpPr>
      <dsp:spPr>
        <a:xfrm>
          <a:off x="2651013" y="1367536"/>
          <a:ext cx="475488" cy="47548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100" b="1" kern="1200"/>
        </a:p>
      </dsp:txBody>
      <dsp:txXfrm>
        <a:off x="2651013" y="1367536"/>
        <a:ext cx="475488" cy="475488"/>
      </dsp:txXfrm>
    </dsp:sp>
    <dsp:sp modelId="{D245DCB5-635D-4178-8D9E-B2B9ABDDF1F9}">
      <dsp:nvSpPr>
        <dsp:cNvPr id="0" name=""/>
        <dsp:cNvSpPr/>
      </dsp:nvSpPr>
      <dsp:spPr>
        <a:xfrm>
          <a:off x="2868263" y="2188464"/>
          <a:ext cx="475488" cy="47548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100" b="1" kern="1200"/>
        </a:p>
      </dsp:txBody>
      <dsp:txXfrm>
        <a:off x="2868263" y="2188464"/>
        <a:ext cx="475488" cy="475488"/>
      </dsp:txXfrm>
    </dsp:sp>
    <dsp:sp modelId="{130541D8-B362-4FB4-BE2E-574921690571}">
      <dsp:nvSpPr>
        <dsp:cNvPr id="0" name=""/>
        <dsp:cNvSpPr/>
      </dsp:nvSpPr>
      <dsp:spPr>
        <a:xfrm>
          <a:off x="3085512" y="3029712"/>
          <a:ext cx="475488" cy="47548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100" b="1" kern="1200"/>
        </a:p>
      </dsp:txBody>
      <dsp:txXfrm>
        <a:off x="3085512" y="3029712"/>
        <a:ext cx="475488" cy="475488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C84496D-609A-4C07-9FE3-54202ECED7B2}">
      <dsp:nvSpPr>
        <dsp:cNvPr id="0" name=""/>
        <dsp:cNvSpPr/>
      </dsp:nvSpPr>
      <dsp:spPr>
        <a:xfrm>
          <a:off x="973810" y="-24537"/>
          <a:ext cx="4364279" cy="4364279"/>
        </a:xfrm>
        <a:prstGeom prst="circularArrow">
          <a:avLst>
            <a:gd name="adj1" fmla="val 5544"/>
            <a:gd name="adj2" fmla="val 330680"/>
            <a:gd name="adj3" fmla="val 13811109"/>
            <a:gd name="adj4" fmla="val 17364589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19A754A-0E5D-4A4C-A4C2-E5A96426231C}">
      <dsp:nvSpPr>
        <dsp:cNvPr id="0" name=""/>
        <dsp:cNvSpPr/>
      </dsp:nvSpPr>
      <dsp:spPr>
        <a:xfrm>
          <a:off x="2149682" y="1060"/>
          <a:ext cx="2012534" cy="100626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认识自我，了解社会</a:t>
          </a:r>
          <a:endParaRPr lang="zh-CN" altLang="en-US" sz="2400" b="1" kern="1200" dirty="0"/>
        </a:p>
      </dsp:txBody>
      <dsp:txXfrm>
        <a:off x="2149682" y="1060"/>
        <a:ext cx="2012534" cy="1006267"/>
      </dsp:txXfrm>
    </dsp:sp>
    <dsp:sp modelId="{68327CAA-2437-4548-B0B5-A9FA293A3D7D}">
      <dsp:nvSpPr>
        <dsp:cNvPr id="0" name=""/>
        <dsp:cNvSpPr/>
      </dsp:nvSpPr>
      <dsp:spPr>
        <a:xfrm>
          <a:off x="3919693" y="1287049"/>
          <a:ext cx="2012534" cy="100626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确立目标，规划未来</a:t>
          </a:r>
          <a:endParaRPr lang="zh-CN" altLang="en-US" sz="2400" b="1" kern="1200" dirty="0"/>
        </a:p>
      </dsp:txBody>
      <dsp:txXfrm>
        <a:off x="3919693" y="1287049"/>
        <a:ext cx="2012534" cy="1006267"/>
      </dsp:txXfrm>
    </dsp:sp>
    <dsp:sp modelId="{59D8BDEC-FDE9-4888-AD54-F8FAB85D42BB}">
      <dsp:nvSpPr>
        <dsp:cNvPr id="0" name=""/>
        <dsp:cNvSpPr/>
      </dsp:nvSpPr>
      <dsp:spPr>
        <a:xfrm>
          <a:off x="3243609" y="3367822"/>
          <a:ext cx="2012534" cy="100626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构建合理的知识结构</a:t>
          </a:r>
          <a:endParaRPr lang="zh-CN" altLang="en-US" sz="2400" b="1" kern="1200" dirty="0"/>
        </a:p>
      </dsp:txBody>
      <dsp:txXfrm>
        <a:off x="3243609" y="3367822"/>
        <a:ext cx="2012534" cy="1006267"/>
      </dsp:txXfrm>
    </dsp:sp>
    <dsp:sp modelId="{00A6595B-0594-4135-B4CB-9A17D14E9EC4}">
      <dsp:nvSpPr>
        <dsp:cNvPr id="0" name=""/>
        <dsp:cNvSpPr/>
      </dsp:nvSpPr>
      <dsp:spPr>
        <a:xfrm>
          <a:off x="1055755" y="3367822"/>
          <a:ext cx="2012534" cy="100626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dirty="0" smtClean="0"/>
            <a:t>增强适应工作的能力</a:t>
          </a:r>
          <a:endParaRPr lang="zh-CN" altLang="en-US" sz="2400" b="1" kern="1200" dirty="0"/>
        </a:p>
      </dsp:txBody>
      <dsp:txXfrm>
        <a:off x="1055755" y="3367822"/>
        <a:ext cx="2012534" cy="1006267"/>
      </dsp:txXfrm>
    </dsp:sp>
    <dsp:sp modelId="{21B7824C-06F1-4D50-8441-C15D110ABE38}">
      <dsp:nvSpPr>
        <dsp:cNvPr id="0" name=""/>
        <dsp:cNvSpPr/>
      </dsp:nvSpPr>
      <dsp:spPr>
        <a:xfrm>
          <a:off x="379671" y="1287049"/>
          <a:ext cx="2012534" cy="100626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400" b="1" kern="1200" cap="all" smtClean="0">
              <a:ln w="9000" cmpd="sng">
                <a:prstDash val="solid"/>
              </a:ln>
              <a:effectLst>
                <a:reflection blurRad="12700" stA="28000" endPos="45000" dist="1000" dir="5400000" sy="-100000" algn="bl" rotWithShape="0"/>
              </a:effectLst>
            </a:rPr>
            <a:t>培养良好的心理素质</a:t>
          </a:r>
          <a:endParaRPr lang="zh-CN" altLang="en-US" sz="2400" b="1" kern="1200" dirty="0"/>
        </a:p>
      </dsp:txBody>
      <dsp:txXfrm>
        <a:off x="379671" y="1287049"/>
        <a:ext cx="2012534" cy="1006267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F21CC67-D333-441E-AAE9-0F435CADCB85}">
      <dsp:nvSpPr>
        <dsp:cNvPr id="0" name=""/>
        <dsp:cNvSpPr/>
      </dsp:nvSpPr>
      <dsp:spPr>
        <a:xfrm>
          <a:off x="1404620" y="120650"/>
          <a:ext cx="3276600" cy="1137920"/>
        </a:xfrm>
        <a:prstGeom prst="ellipse">
          <a:avLst/>
        </a:prstGeom>
        <a:solidFill>
          <a:schemeClr val="dk2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D54639-9D1B-48AF-825C-DB2756FD3D25}">
      <dsp:nvSpPr>
        <dsp:cNvPr id="0" name=""/>
        <dsp:cNvSpPr/>
      </dsp:nvSpPr>
      <dsp:spPr>
        <a:xfrm>
          <a:off x="2743200" y="2907030"/>
          <a:ext cx="635000" cy="406400"/>
        </a:xfrm>
        <a:prstGeom prst="downArrow">
          <a:avLst/>
        </a:prstGeom>
        <a:solidFill>
          <a:srgbClr val="2DC8FF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B6E9BE-C19A-497D-ABAA-B59C59EBF0CA}">
      <dsp:nvSpPr>
        <dsp:cNvPr id="0" name=""/>
        <dsp:cNvSpPr/>
      </dsp:nvSpPr>
      <dsp:spPr>
        <a:xfrm>
          <a:off x="2000250" y="3143251"/>
          <a:ext cx="2095500" cy="9397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032" tIns="256032" rIns="256032" bIns="256032" numCol="1" spcCol="1270" anchor="ctr" anchorCtr="0">
          <a:noAutofit/>
          <a:scene3d>
            <a:camera prst="orthographicFront">
              <a:rot lat="0" lon="0" rev="0"/>
            </a:camera>
            <a:lightRig rig="contrasting" dir="t">
              <a:rot lat="0" lon="0" rev="4500000"/>
            </a:lightRig>
          </a:scene3d>
          <a:sp3d contourW="6350" prstMaterial="metal">
            <a:bevelT w="127000" h="31750" prst="relaxedInset"/>
            <a:contourClr>
              <a:schemeClr val="accent1">
                <a:shade val="75000"/>
              </a:schemeClr>
            </a:contourClr>
          </a:sp3d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600" b="1" kern="1200" cap="all" spc="0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rPr>
            <a:t>蚁族</a:t>
          </a:r>
          <a:endParaRPr lang="zh-CN" altLang="en-US" sz="3600" b="1" kern="1200" cap="all" spc="0" dirty="0">
            <a:ln w="0"/>
            <a:gradFill flip="none">
              <a:gsLst>
                <a:gs pos="0">
                  <a:schemeClr val="accent1">
                    <a:tint val="75000"/>
                    <a:shade val="75000"/>
                    <a:satMod val="170000"/>
                  </a:schemeClr>
                </a:gs>
                <a:gs pos="49000">
                  <a:schemeClr val="accent1">
                    <a:tint val="88000"/>
                    <a:shade val="65000"/>
                    <a:satMod val="172000"/>
                  </a:schemeClr>
                </a:gs>
                <a:gs pos="50000">
                  <a:schemeClr val="accent1">
                    <a:shade val="65000"/>
                    <a:satMod val="130000"/>
                  </a:schemeClr>
                </a:gs>
                <a:gs pos="92000">
                  <a:schemeClr val="accent1">
                    <a:shade val="50000"/>
                    <a:satMod val="120000"/>
                  </a:schemeClr>
                </a:gs>
                <a:gs pos="100000">
                  <a:schemeClr val="accent1">
                    <a:shade val="48000"/>
                    <a:satMod val="120000"/>
                  </a:schemeClr>
                </a:gs>
              </a:gsLst>
              <a:lin ang="5400000"/>
            </a:gradFill>
            <a:effectLst>
              <a:reflection blurRad="12700" stA="50000" endPos="50000" dist="5000" dir="5400000" sy="-100000" rotWithShape="0"/>
            </a:effectLst>
          </a:endParaRPr>
        </a:p>
      </dsp:txBody>
      <dsp:txXfrm>
        <a:off x="2000250" y="3143251"/>
        <a:ext cx="2095500" cy="939797"/>
      </dsp:txXfrm>
    </dsp:sp>
    <dsp:sp modelId="{816C8BA5-B63A-48F9-8354-626EF18473A1}">
      <dsp:nvSpPr>
        <dsp:cNvPr id="0" name=""/>
        <dsp:cNvSpPr/>
      </dsp:nvSpPr>
      <dsp:spPr>
        <a:xfrm>
          <a:off x="2595880" y="1346454"/>
          <a:ext cx="1143000" cy="1143000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800" b="1" kern="1200" dirty="0" smtClean="0"/>
            <a:t>群居</a:t>
          </a:r>
          <a:endParaRPr lang="zh-CN" altLang="en-US" sz="2800" b="1" kern="1200" dirty="0"/>
        </a:p>
      </dsp:txBody>
      <dsp:txXfrm>
        <a:off x="2595880" y="1346454"/>
        <a:ext cx="1143000" cy="1143000"/>
      </dsp:txXfrm>
    </dsp:sp>
    <dsp:sp modelId="{2C30C360-C477-4041-B8AE-7BCC69F2CF3D}">
      <dsp:nvSpPr>
        <dsp:cNvPr id="0" name=""/>
        <dsp:cNvSpPr/>
      </dsp:nvSpPr>
      <dsp:spPr>
        <a:xfrm>
          <a:off x="1778000" y="488950"/>
          <a:ext cx="1143000" cy="1143000"/>
        </a:xfrm>
        <a:prstGeom prst="ellipse">
          <a:avLst/>
        </a:prstGeom>
        <a:solidFill>
          <a:srgbClr val="2DC8FF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800" b="1" kern="1200" dirty="0" smtClean="0"/>
            <a:t>弱小</a:t>
          </a:r>
          <a:endParaRPr lang="zh-CN" altLang="en-US" sz="2800" b="1" kern="1200" dirty="0"/>
        </a:p>
      </dsp:txBody>
      <dsp:txXfrm>
        <a:off x="1778000" y="488950"/>
        <a:ext cx="1143000" cy="1143000"/>
      </dsp:txXfrm>
    </dsp:sp>
    <dsp:sp modelId="{61CEBC02-A085-4F1D-A436-3D10627891C3}">
      <dsp:nvSpPr>
        <dsp:cNvPr id="0" name=""/>
        <dsp:cNvSpPr/>
      </dsp:nvSpPr>
      <dsp:spPr>
        <a:xfrm>
          <a:off x="2946400" y="212598"/>
          <a:ext cx="1143000" cy="1143000"/>
        </a:xfrm>
        <a:prstGeom prst="ellipse">
          <a:avLst/>
        </a:prstGeom>
        <a:solidFill>
          <a:srgbClr val="24D816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800" b="1" kern="1200" dirty="0" smtClean="0"/>
            <a:t>高智</a:t>
          </a:r>
          <a:endParaRPr lang="zh-CN" altLang="en-US" sz="2800" b="1" kern="1200" dirty="0"/>
        </a:p>
      </dsp:txBody>
      <dsp:txXfrm>
        <a:off x="2946400" y="212598"/>
        <a:ext cx="1143000" cy="1143000"/>
      </dsp:txXfrm>
    </dsp:sp>
    <dsp:sp modelId="{8CCDEA8C-89F5-4DB6-9654-25C41E70FA47}">
      <dsp:nvSpPr>
        <dsp:cNvPr id="0" name=""/>
        <dsp:cNvSpPr/>
      </dsp:nvSpPr>
      <dsp:spPr>
        <a:xfrm>
          <a:off x="1270000" y="-19049"/>
          <a:ext cx="3556000" cy="2844800"/>
        </a:xfrm>
        <a:prstGeom prst="funnel">
          <a:avLst/>
        </a:prstGeom>
        <a:solidFill>
          <a:schemeClr val="lt2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EA5CEB5-F08E-4B13-BE6E-ED017DAE86A0}">
      <dsp:nvSpPr>
        <dsp:cNvPr id="0" name=""/>
        <dsp:cNvSpPr/>
      </dsp:nvSpPr>
      <dsp:spPr>
        <a:xfrm>
          <a:off x="1374985" y="1142"/>
          <a:ext cx="2560320" cy="90618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多为</a:t>
          </a:r>
          <a:r>
            <a:rPr lang="en-US" altLang="zh-CN" sz="1600" b="1" kern="1200" dirty="0" smtClean="0"/>
            <a:t>80</a:t>
          </a:r>
          <a:r>
            <a:rPr lang="zh-CN" altLang="en-US" sz="1600" b="1" kern="1200" dirty="0" smtClean="0"/>
            <a:t>后、</a:t>
          </a:r>
          <a:r>
            <a:rPr lang="en-US" altLang="zh-CN" sz="1600" b="1" kern="1200" dirty="0" smtClean="0"/>
            <a:t>90</a:t>
          </a:r>
          <a:r>
            <a:rPr lang="zh-CN" altLang="en-US" sz="1600" b="1" kern="1200" dirty="0" smtClean="0"/>
            <a:t>后</a:t>
          </a:r>
          <a:endParaRPr lang="zh-CN" altLang="en-US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来自农村、乡镇</a:t>
          </a:r>
          <a:endParaRPr lang="zh-CN" altLang="en-US" sz="1600" b="1" kern="1200" dirty="0"/>
        </a:p>
      </dsp:txBody>
      <dsp:txXfrm>
        <a:off x="1374985" y="1142"/>
        <a:ext cx="2560320" cy="906189"/>
      </dsp:txXfrm>
    </dsp:sp>
    <dsp:sp modelId="{6F06BEE9-D6EE-43D0-BD9D-7B8AD778C586}">
      <dsp:nvSpPr>
        <dsp:cNvPr id="0" name=""/>
        <dsp:cNvSpPr/>
      </dsp:nvSpPr>
      <dsp:spPr>
        <a:xfrm>
          <a:off x="331894" y="1142"/>
          <a:ext cx="1043091" cy="906189"/>
        </a:xfrm>
        <a:prstGeom prst="roundRect">
          <a:avLst/>
        </a:prstGeom>
        <a:solidFill>
          <a:srgbClr val="2DC8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人员</a:t>
          </a:r>
          <a:endParaRPr lang="en-US" altLang="zh-CN" sz="2600" b="1" kern="1200" dirty="0" smtClean="0">
            <a:solidFill>
              <a:schemeClr val="tx1"/>
            </a:solidFill>
            <a:latin typeface="+mj-ea"/>
            <a:ea typeface="+mj-ea"/>
          </a:endParaRPr>
        </a:p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构成</a:t>
          </a:r>
          <a:endParaRPr lang="zh-CN" altLang="en-US" sz="2600" b="1" kern="1200" dirty="0">
            <a:solidFill>
              <a:schemeClr val="tx1"/>
            </a:solidFill>
            <a:latin typeface="+mj-ea"/>
            <a:ea typeface="+mj-ea"/>
          </a:endParaRPr>
        </a:p>
      </dsp:txBody>
      <dsp:txXfrm>
        <a:off x="331894" y="1142"/>
        <a:ext cx="1043091" cy="906189"/>
      </dsp:txXfrm>
    </dsp:sp>
    <dsp:sp modelId="{63BF589A-45AA-4199-B736-57891516CCD2}">
      <dsp:nvSpPr>
        <dsp:cNvPr id="0" name=""/>
        <dsp:cNvSpPr/>
      </dsp:nvSpPr>
      <dsp:spPr>
        <a:xfrm>
          <a:off x="1374985" y="997950"/>
          <a:ext cx="2560320" cy="90618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收入普遍不高</a:t>
          </a:r>
          <a:endParaRPr lang="zh-CN" altLang="en-US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缺乏劳动权益和 社会保障</a:t>
          </a:r>
          <a:endParaRPr lang="zh-CN" altLang="en-US" sz="1600" b="1" kern="1200" dirty="0"/>
        </a:p>
      </dsp:txBody>
      <dsp:txXfrm>
        <a:off x="1374985" y="997950"/>
        <a:ext cx="2560320" cy="906189"/>
      </dsp:txXfrm>
    </dsp:sp>
    <dsp:sp modelId="{E133BF8B-2C15-48EE-82D2-E7D39596B384}">
      <dsp:nvSpPr>
        <dsp:cNvPr id="0" name=""/>
        <dsp:cNvSpPr/>
      </dsp:nvSpPr>
      <dsp:spPr>
        <a:xfrm>
          <a:off x="331894" y="997950"/>
          <a:ext cx="1043091" cy="906189"/>
        </a:xfrm>
        <a:prstGeom prst="roundRect">
          <a:avLst/>
        </a:prstGeom>
        <a:solidFill>
          <a:srgbClr val="2DC8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经济</a:t>
          </a:r>
          <a:endParaRPr lang="en-US" altLang="zh-CN" sz="2600" b="1" kern="1200" dirty="0" smtClean="0">
            <a:solidFill>
              <a:schemeClr val="tx1"/>
            </a:solidFill>
            <a:latin typeface="+mj-ea"/>
            <a:ea typeface="+mj-ea"/>
          </a:endParaRPr>
        </a:p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收入</a:t>
          </a:r>
        </a:p>
      </dsp:txBody>
      <dsp:txXfrm>
        <a:off x="331894" y="997950"/>
        <a:ext cx="1043091" cy="906189"/>
      </dsp:txXfrm>
    </dsp:sp>
    <dsp:sp modelId="{83CB6785-6056-44BC-BD74-46AA6BD18D42}">
      <dsp:nvSpPr>
        <dsp:cNvPr id="0" name=""/>
        <dsp:cNvSpPr/>
      </dsp:nvSpPr>
      <dsp:spPr>
        <a:xfrm>
          <a:off x="1374985" y="1994759"/>
          <a:ext cx="2560320" cy="90618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文化生活单调</a:t>
          </a:r>
          <a:endParaRPr lang="zh-CN" altLang="en-US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对未来既憧憬又不确定</a:t>
          </a:r>
          <a:endParaRPr lang="zh-CN" altLang="en-US" sz="1600" b="1" kern="1200" dirty="0"/>
        </a:p>
      </dsp:txBody>
      <dsp:txXfrm>
        <a:off x="1374985" y="1994759"/>
        <a:ext cx="2560320" cy="906189"/>
      </dsp:txXfrm>
    </dsp:sp>
    <dsp:sp modelId="{F29317F7-84F7-4414-AC2E-6A5A6627B977}">
      <dsp:nvSpPr>
        <dsp:cNvPr id="0" name=""/>
        <dsp:cNvSpPr/>
      </dsp:nvSpPr>
      <dsp:spPr>
        <a:xfrm>
          <a:off x="331894" y="1994759"/>
          <a:ext cx="1043091" cy="906189"/>
        </a:xfrm>
        <a:prstGeom prst="roundRect">
          <a:avLst/>
        </a:prstGeom>
        <a:solidFill>
          <a:srgbClr val="2DC8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精神</a:t>
          </a:r>
          <a:endParaRPr lang="en-US" altLang="zh-CN" sz="2600" b="1" kern="1200" dirty="0" smtClean="0">
            <a:solidFill>
              <a:schemeClr val="tx1"/>
            </a:solidFill>
            <a:latin typeface="+mj-ea"/>
            <a:ea typeface="+mj-ea"/>
          </a:endParaRPr>
        </a:p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生活</a:t>
          </a:r>
        </a:p>
      </dsp:txBody>
      <dsp:txXfrm>
        <a:off x="331894" y="1994759"/>
        <a:ext cx="1043091" cy="906189"/>
      </dsp:txXfrm>
    </dsp:sp>
    <dsp:sp modelId="{169638B5-0B81-4667-BD6A-868725C21E29}">
      <dsp:nvSpPr>
        <dsp:cNvPr id="0" name=""/>
        <dsp:cNvSpPr/>
      </dsp:nvSpPr>
      <dsp:spPr>
        <a:xfrm>
          <a:off x="1374985" y="2991568"/>
          <a:ext cx="2560320" cy="90618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社会交往有限</a:t>
          </a:r>
          <a:endParaRPr lang="zh-CN" altLang="en-US" sz="1600" b="1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600" b="1" kern="1200" dirty="0" smtClean="0"/>
            <a:t>生活圈子较窄</a:t>
          </a:r>
          <a:endParaRPr lang="zh-CN" altLang="en-US" sz="1600" b="1" kern="1200" dirty="0"/>
        </a:p>
      </dsp:txBody>
      <dsp:txXfrm>
        <a:off x="1374985" y="2991568"/>
        <a:ext cx="2560320" cy="906189"/>
      </dsp:txXfrm>
    </dsp:sp>
    <dsp:sp modelId="{D372631C-CEA5-4DC2-B55E-86DF2F2DBB96}">
      <dsp:nvSpPr>
        <dsp:cNvPr id="0" name=""/>
        <dsp:cNvSpPr/>
      </dsp:nvSpPr>
      <dsp:spPr>
        <a:xfrm>
          <a:off x="331894" y="2991568"/>
          <a:ext cx="1043091" cy="906189"/>
        </a:xfrm>
        <a:prstGeom prst="roundRect">
          <a:avLst/>
        </a:prstGeom>
        <a:solidFill>
          <a:srgbClr val="2DC8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社会</a:t>
          </a:r>
          <a:endParaRPr lang="en-US" altLang="zh-CN" sz="2600" b="1" kern="1200" dirty="0" smtClean="0">
            <a:solidFill>
              <a:schemeClr val="tx1"/>
            </a:solidFill>
            <a:latin typeface="+mj-ea"/>
            <a:ea typeface="+mj-ea"/>
          </a:endParaRPr>
        </a:p>
        <a:p>
          <a:pPr lvl="0" algn="ctr" defTabSz="1155700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zh-CN" altLang="en-US" sz="2600" b="1" kern="1200" dirty="0" smtClean="0">
              <a:solidFill>
                <a:schemeClr val="tx1"/>
              </a:solidFill>
              <a:latin typeface="+mj-ea"/>
              <a:ea typeface="+mj-ea"/>
            </a:rPr>
            <a:t>生活</a:t>
          </a:r>
        </a:p>
      </dsp:txBody>
      <dsp:txXfrm>
        <a:off x="331894" y="2991568"/>
        <a:ext cx="1043091" cy="9061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589935FC-8485-4DF4-944B-B015E3FDDF9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7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buSzPct val="100000"/>
              <a:buFont typeface="Times New Roman" pitchFamily="18" charset="0"/>
              <a:buNone/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397D52DE-3C89-45A5-9231-8E6463891528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100000"/>
      </a:spcBef>
      <a:spcAft>
        <a:spcPct val="0"/>
      </a:spcAft>
      <a:buSzPct val="100000"/>
      <a:buFont typeface="Times New Roman" pitchFamily="18" charset="0"/>
      <a:defRPr sz="1200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100000"/>
      </a:spcBef>
      <a:spcAft>
        <a:spcPct val="0"/>
      </a:spcAft>
      <a:buSzPct val="100000"/>
      <a:buFont typeface="Times New Roman" pitchFamily="18" charset="0"/>
      <a:defRPr sz="1200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100000"/>
      </a:spcBef>
      <a:spcAft>
        <a:spcPct val="0"/>
      </a:spcAft>
      <a:buSzPct val="100000"/>
      <a:buFont typeface="Times New Roman" pitchFamily="18" charset="0"/>
      <a:defRPr sz="1200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100000"/>
      </a:spcBef>
      <a:spcAft>
        <a:spcPct val="0"/>
      </a:spcAft>
      <a:buSzPct val="100000"/>
      <a:buFont typeface="Times New Roman" pitchFamily="18" charset="0"/>
      <a:defRPr sz="1200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100000"/>
      </a:spcBef>
      <a:spcAft>
        <a:spcPct val="0"/>
      </a:spcAft>
      <a:buSzPct val="100000"/>
      <a:buFont typeface="Times New Roman" pitchFamily="18" charset="0"/>
      <a:defRPr sz="1200" kern="1200">
        <a:solidFill>
          <a:schemeClr val="tx1"/>
        </a:solidFill>
        <a:latin typeface="Times New Roman" pitchFamily="18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3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zh-CN" altLang="en-US" smtClean="0"/>
          </a:p>
        </p:txBody>
      </p:sp>
      <p:sp>
        <p:nvSpPr>
          <p:cNvPr id="71684" name="灯片编号占位符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171DD14-AB80-44FC-8DE3-416B3B5456AB}" type="slidenum">
              <a:rPr lang="en-US" altLang="zh-CN" smtClean="0"/>
              <a:pPr/>
              <a:t>2</a:t>
            </a:fld>
            <a:endParaRPr lang="en-US" altLang="zh-CN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14" name="think-cell Slide" r:id="rId5" imgW="360" imgH="360" progId="">
              <p:embed/>
            </p:oleObj>
          </a:graphicData>
        </a:graphic>
      </p:graphicFrame>
      <p:pic>
        <p:nvPicPr>
          <p:cNvPr id="3" name="图片 1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矩形 4"/>
          <p:cNvSpPr/>
          <p:nvPr userDrawn="1">
            <p:custDataLst>
              <p:tags r:id="rId3"/>
            </p:custDataLst>
          </p:nvPr>
        </p:nvSpPr>
        <p:spPr>
          <a:xfrm>
            <a:off x="6350" y="3970338"/>
            <a:ext cx="9144000" cy="2887662"/>
          </a:xfrm>
          <a:prstGeom prst="rect">
            <a:avLst/>
          </a:prstGeom>
          <a:solidFill>
            <a:srgbClr val="5BD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/>
          </a:p>
        </p:txBody>
      </p:sp>
      <p:pic>
        <p:nvPicPr>
          <p:cNvPr id="5" name="图片 6" descr="杂志社logo 新.png"/>
          <p:cNvPicPr>
            <a:picLocks noChangeAspect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16788" y="6330950"/>
            <a:ext cx="1547812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8"/>
          <p:cNvGrpSpPr/>
          <p:nvPr userDrawn="1"/>
        </p:nvGrpSpPr>
        <p:grpSpPr>
          <a:xfrm flipV="1">
            <a:off x="-36512" y="332656"/>
            <a:ext cx="7942262" cy="784944"/>
            <a:chOff x="639548" y="6547656"/>
            <a:chExt cx="8504452" cy="31034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3" name="组合 19"/>
            <p:cNvGrpSpPr/>
            <p:nvPr/>
          </p:nvGrpSpPr>
          <p:grpSpPr>
            <a:xfrm>
              <a:off x="639548" y="6547656"/>
              <a:ext cx="8504452" cy="310344"/>
              <a:chOff x="480938" y="158018"/>
              <a:chExt cx="6395318" cy="62068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平行四边形 21"/>
              <p:cNvSpPr/>
              <p:nvPr/>
            </p:nvSpPr>
            <p:spPr>
              <a:xfrm flipH="1">
                <a:off x="480938" y="158018"/>
                <a:ext cx="6395318" cy="620688"/>
              </a:xfrm>
              <a:prstGeom prst="parallelogram">
                <a:avLst>
                  <a:gd name="adj" fmla="val 44524"/>
                </a:avLst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 dirty="0">
                  <a:ea typeface="微软雅黑" pitchFamily="34" charset="-122"/>
                </a:endParaRPr>
              </a:p>
            </p:txBody>
          </p:sp>
          <p:sp>
            <p:nvSpPr>
              <p:cNvPr id="6" name="矩形 22"/>
              <p:cNvSpPr/>
              <p:nvPr/>
            </p:nvSpPr>
            <p:spPr>
              <a:xfrm>
                <a:off x="480938" y="158018"/>
                <a:ext cx="459891" cy="620688"/>
              </a:xfrm>
              <a:prstGeom prst="rect">
                <a:avLst/>
              </a:prstGeom>
              <a:solidFill>
                <a:srgbClr val="85D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eaLnBrk="0" hangingPunct="0">
                  <a:buSzPct val="100000"/>
                  <a:buFont typeface="Times New Roman" pitchFamily="18" charset="0"/>
                  <a:buNone/>
                  <a:defRPr/>
                </a:pPr>
                <a:r>
                  <a:rPr lang="zh-CN" altLang="en-US" sz="3200" dirty="0">
                    <a:ea typeface="微软雅黑" pitchFamily="34" charset="-122"/>
                  </a:rPr>
                  <a:t>  </a:t>
                </a:r>
              </a:p>
            </p:txBody>
          </p:sp>
        </p:grpSp>
        <p:sp>
          <p:nvSpPr>
            <p:cNvPr id="4" name="平行四边形 20"/>
            <p:cNvSpPr/>
            <p:nvPr/>
          </p:nvSpPr>
          <p:spPr>
            <a:xfrm flipH="1" flipV="1">
              <a:off x="966579" y="6547656"/>
              <a:ext cx="7696069" cy="310344"/>
            </a:xfrm>
            <a:prstGeom prst="parallelogram">
              <a:avLst>
                <a:gd name="adj" fmla="val 44524"/>
              </a:avLst>
            </a:prstGeom>
            <a:solidFill>
              <a:srgbClr val="85D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buSzPct val="100000"/>
                <a:buFont typeface="Times New Roman" pitchFamily="18" charset="0"/>
                <a:buNone/>
                <a:defRPr/>
              </a:pPr>
              <a:endParaRPr lang="zh-CN" altLang="en-US" dirty="0">
                <a:ea typeface="微软雅黑" pitchFamily="34" charset="-122"/>
              </a:endParaRPr>
            </a:p>
          </p:txBody>
        </p:sp>
      </p:grpSp>
      <p:pic>
        <p:nvPicPr>
          <p:cNvPr id="7" name="Picture 2" descr="C:\Users\Shiqian\Desktop\PPT-蚁族\气球-底稿设计.pn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10500" y="-125413"/>
            <a:ext cx="1333500" cy="155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1138" name="think-cell Slide" r:id="rId5" imgW="360" imgH="360" progId="">
              <p:embed/>
            </p:oleObj>
          </a:graphicData>
        </a:graphic>
      </p:graphicFrame>
      <p:sp>
        <p:nvSpPr>
          <p:cNvPr id="3" name="Rectangle 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984250"/>
          </a:xfrm>
          <a:prstGeom prst="rect">
            <a:avLst/>
          </a:prstGeom>
          <a:gradFill flip="none" rotWithShape="1">
            <a:gsLst>
              <a:gs pos="100000">
                <a:srgbClr val="FFFFFF"/>
              </a:gs>
              <a:gs pos="39999">
                <a:srgbClr val="85C2FF"/>
              </a:gs>
              <a:gs pos="39999">
                <a:srgbClr val="85C2FF"/>
              </a:gs>
              <a:gs pos="39999">
                <a:srgbClr val="85C2FF"/>
              </a:gs>
              <a:gs pos="86000">
                <a:srgbClr val="FFFFFF"/>
              </a:gs>
              <a:gs pos="70000">
                <a:srgbClr val="C4D6EB"/>
              </a:gs>
              <a:gs pos="100000">
                <a:srgbClr val="FFEBF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/>
          </a:p>
        </p:txBody>
      </p:sp>
      <p:pic>
        <p:nvPicPr>
          <p:cNvPr id="4" name="Picture 2" descr="C:\Users\Shiqian\Desktop\PPT-蚁族\气球-底稿设计.p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10500" y="-125413"/>
            <a:ext cx="1333500" cy="155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9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550" y="0"/>
            <a:ext cx="1200150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标题占位符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4579" name="文本占位符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buSzPct val="100000"/>
              <a:buFont typeface="Times New Roman" pitchFamily="18" charset="0"/>
              <a:buNone/>
              <a:defRPr sz="1200">
                <a:solidFill>
                  <a:schemeClr val="tx1">
                    <a:tint val="75000"/>
                  </a:schemeClr>
                </a:solidFill>
                <a:ea typeface="微软雅黑" pitchFamily="34" charset="-122"/>
              </a:defRPr>
            </a:lvl1pPr>
          </a:lstStyle>
          <a:p>
            <a:pPr>
              <a:defRPr/>
            </a:pPr>
            <a:fld id="{00B2A61C-BB77-43FB-B14E-BD9FD51E5E5D}" type="datetime1">
              <a:rPr lang="zh-CN" altLang="en-US"/>
              <a:pPr>
                <a:defRPr/>
              </a:pPr>
              <a:t>2014/8/4</a:t>
            </a:fld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buSzPct val="100000"/>
              <a:buFont typeface="Times New Roman" pitchFamily="18" charset="0"/>
              <a:buNone/>
              <a:defRPr sz="1200">
                <a:solidFill>
                  <a:schemeClr val="tx1">
                    <a:tint val="75000"/>
                  </a:schemeClr>
                </a:solidFill>
                <a:ea typeface="微软雅黑" pitchFamily="34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pic>
        <p:nvPicPr>
          <p:cNvPr id="24582" name="图片 6" descr="杂志社logo 新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16788" y="6330950"/>
            <a:ext cx="1547812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332" r:id="rId1"/>
    <p:sldLayoutId id="2147485333" r:id="rId2"/>
    <p:sldLayoutId id="2147485334" r:id="rId3"/>
    <p:sldLayoutId id="214748533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微软雅黑" pitchFamily="34" charset="-122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321" r:id="rId1"/>
    <p:sldLayoutId id="2147485322" r:id="rId2"/>
    <p:sldLayoutId id="2147485323" r:id="rId3"/>
    <p:sldLayoutId id="2147485324" r:id="rId4"/>
    <p:sldLayoutId id="2147485325" r:id="rId5"/>
    <p:sldLayoutId id="2147485326" r:id="rId6"/>
    <p:sldLayoutId id="2147485327" r:id="rId7"/>
    <p:sldLayoutId id="2147485328" r:id="rId8"/>
    <p:sldLayoutId id="2147485329" r:id="rId9"/>
    <p:sldLayoutId id="2147485330" r:id="rId10"/>
    <p:sldLayoutId id="214748533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宋体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1.xml"/><Relationship Id="rId7" Type="http://schemas.openxmlformats.org/officeDocument/2006/relationships/image" Target="../media/image9.jpeg"/><Relationship Id="rId12" Type="http://schemas.microsoft.com/office/2007/relationships/diagramDrawing" Target="../diagrams/drawing6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3.jpe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2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slideLayout" Target="../slideLayouts/slideLayout2.xml"/><Relationship Id="rId26" Type="http://schemas.openxmlformats.org/officeDocument/2006/relationships/image" Target="../media/image10.jpeg"/><Relationship Id="rId3" Type="http://schemas.openxmlformats.org/officeDocument/2006/relationships/tags" Target="../tags/tag11.xml"/><Relationship Id="rId21" Type="http://schemas.openxmlformats.org/officeDocument/2006/relationships/image" Target="../media/image8.png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diagramColors" Target="../diagrams/colors2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diagramQuickStyle" Target="../diagrams/quickStyle2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diagramLayout" Target="../diagrams/layout2.xml"/><Relationship Id="rId10" Type="http://schemas.openxmlformats.org/officeDocument/2006/relationships/tags" Target="../tags/tag18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diagramData" Target="../diagrams/data2.xml"/><Relationship Id="rId27" Type="http://schemas.microsoft.com/office/2007/relationships/diagramDrawing" Target="../diagrams/drawin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8.png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6.xml"/><Relationship Id="rId16" Type="http://schemas.openxmlformats.org/officeDocument/2006/relationships/image" Target="../media/image24.jpeg"/><Relationship Id="rId1" Type="http://schemas.openxmlformats.org/officeDocument/2006/relationships/vmlDrawing" Target="../drawings/vmlDrawing5.vml"/><Relationship Id="rId6" Type="http://schemas.openxmlformats.org/officeDocument/2006/relationships/tags" Target="../tags/tag3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9.xml"/><Relationship Id="rId15" Type="http://schemas.openxmlformats.org/officeDocument/2006/relationships/image" Target="../media/image23.jpeg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13" Type="http://schemas.microsoft.com/office/2007/relationships/diagramDrawing" Target="../diagrams/drawing15.xml"/><Relationship Id="rId3" Type="http://schemas.openxmlformats.org/officeDocument/2006/relationships/slideLayout" Target="../slideLayouts/slideLayout2.xml"/><Relationship Id="rId7" Type="http://schemas.openxmlformats.org/officeDocument/2006/relationships/diagramQuickStyle" Target="../diagrams/quickStyle3.xml"/><Relationship Id="rId12" Type="http://schemas.openxmlformats.org/officeDocument/2006/relationships/diagramColors" Target="../diagrams/colors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diagramLayout" Target="../diagrams/layout3.xml"/><Relationship Id="rId11" Type="http://schemas.openxmlformats.org/officeDocument/2006/relationships/diagramQuickStyle" Target="../diagrams/quickStyle4.xml"/><Relationship Id="rId5" Type="http://schemas.openxmlformats.org/officeDocument/2006/relationships/diagramData" Target="../diagrams/data3.xml"/><Relationship Id="rId10" Type="http://schemas.openxmlformats.org/officeDocument/2006/relationships/diagramLayout" Target="../diagrams/layout4.xml"/><Relationship Id="rId4" Type="http://schemas.openxmlformats.org/officeDocument/2006/relationships/image" Target="../media/image8.png"/><Relationship Id="rId9" Type="http://schemas.openxmlformats.org/officeDocument/2006/relationships/diagramData" Target="../diagrams/data4.xml"/><Relationship Id="rId14" Type="http://schemas.microsoft.com/office/2007/relationships/diagramDrawing" Target="../diagrams/drawin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6" imgW="360" imgH="360" progId="">
              <p:embed/>
            </p:oleObj>
          </a:graphicData>
        </a:graphic>
      </p:graphicFrame>
      <p:sp>
        <p:nvSpPr>
          <p:cNvPr id="3075" name="TextBox 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38300" y="4330700"/>
            <a:ext cx="8001000" cy="163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5000" b="1">
                <a:latin typeface="黑体" pitchFamily="49" charset="-122"/>
                <a:ea typeface="黑体" pitchFamily="49" charset="-122"/>
              </a:rPr>
              <a:t>    大学毕业生</a:t>
            </a:r>
            <a:endParaRPr lang="en-US" altLang="zh-CN" sz="5000" b="1">
              <a:latin typeface="黑体" pitchFamily="49" charset="-122"/>
              <a:ea typeface="黑体" pitchFamily="49" charset="-122"/>
            </a:endParaRPr>
          </a:p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en-US" altLang="zh-CN" sz="5000" b="1">
                <a:latin typeface="黑体" pitchFamily="49" charset="-122"/>
                <a:ea typeface="黑体" pitchFamily="49" charset="-122"/>
              </a:rPr>
              <a:t>     </a:t>
            </a:r>
            <a:r>
              <a:rPr lang="zh-CN" altLang="en-US" sz="5000" b="1">
                <a:latin typeface="黑体" pitchFamily="49" charset="-122"/>
                <a:ea typeface="黑体" pitchFamily="49" charset="-122"/>
              </a:rPr>
              <a:t>“族化”生存现象</a:t>
            </a:r>
            <a:endParaRPr lang="zh-CN" altLang="en-US" sz="500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5292080" y="2348880"/>
            <a:ext cx="4225525" cy="1200329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Times New Roman" pitchFamily="18" charset="0"/>
              <a:buNone/>
              <a:defRPr/>
            </a:pPr>
            <a:r>
              <a:rPr lang="zh-CN" altLang="en-US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华文新魏" pitchFamily="2" charset="-122"/>
                <a:ea typeface="华文新魏" pitchFamily="2" charset="-122"/>
              </a:rPr>
              <a:t>何处安放</a:t>
            </a:r>
            <a:endParaRPr lang="en-US" altLang="zh-CN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华文新魏" pitchFamily="2" charset="-122"/>
              <a:ea typeface="华文新魏" pitchFamily="2" charset="-122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Times New Roman" pitchFamily="18" charset="0"/>
              <a:buNone/>
              <a:defRPr/>
            </a:pPr>
            <a:r>
              <a:rPr lang="zh-CN" altLang="en-US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华文新魏" pitchFamily="2" charset="-122"/>
                <a:ea typeface="华文新魏" pitchFamily="2" charset="-122"/>
              </a:rPr>
              <a:t>我们的</a:t>
            </a:r>
            <a:r>
              <a:rPr lang="zh-CN" altLang="en-US" b="1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青春</a:t>
            </a:r>
            <a:r>
              <a:rPr lang="zh-CN" altLang="en-US" b="1" spc="50" dirty="0">
                <a:ln w="11430"/>
                <a:solidFill>
                  <a:schemeClr val="accent1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华文新魏" pitchFamily="2" charset="-122"/>
                <a:ea typeface="华文新魏" pitchFamily="2" charset="-122"/>
              </a:rPr>
              <a:t>？</a:t>
            </a:r>
            <a:endParaRPr lang="zh-CN" altLang="en-US" b="1" spc="50" dirty="0">
              <a:ln w="11430"/>
              <a:solidFill>
                <a:schemeClr val="accent1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grpSp>
        <p:nvGrpSpPr>
          <p:cNvPr id="2" name="Group 1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80988" y="4019550"/>
            <a:ext cx="2779712" cy="2432050"/>
            <a:chOff x="280725" y="4018914"/>
            <a:chExt cx="2779975" cy="2432050"/>
          </a:xfrm>
        </p:grpSpPr>
        <p:pic>
          <p:nvPicPr>
            <p:cNvPr id="3080" name="Picture 2" descr="D:\My Documents\Downloads\19\19\放大镜(1).jpg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358376" flipH="1">
              <a:off x="280725" y="4018914"/>
              <a:ext cx="2526946" cy="2432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81" name="TextBox 12"/>
            <p:cNvSpPr txBox="1">
              <a:spLocks noChangeArrowheads="1"/>
            </p:cNvSpPr>
            <p:nvPr/>
          </p:nvSpPr>
          <p:spPr bwMode="auto">
            <a:xfrm>
              <a:off x="1416050" y="4454664"/>
              <a:ext cx="1644650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4000" b="1">
                  <a:latin typeface="黑体" pitchFamily="49" charset="-122"/>
                  <a:ea typeface="黑体" pitchFamily="49" charset="-122"/>
                </a:rPr>
                <a:t>透视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Box 3"/>
          <p:cNvSpPr txBox="1">
            <a:spLocks noChangeArrowheads="1"/>
          </p:cNvSpPr>
          <p:nvPr/>
        </p:nvSpPr>
        <p:spPr bwMode="auto">
          <a:xfrm>
            <a:off x="749300" y="400050"/>
            <a:ext cx="52562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b="1">
                <a:latin typeface="黑体" pitchFamily="49" charset="-122"/>
                <a:ea typeface="黑体" pitchFamily="49" charset="-122"/>
              </a:rPr>
              <a:t>“蚁族”现象</a:t>
            </a:r>
            <a:r>
              <a:rPr lang="en-US" altLang="zh-CN" b="1">
                <a:latin typeface="黑体" pitchFamily="49" charset="-122"/>
                <a:ea typeface="黑体" pitchFamily="49" charset="-122"/>
              </a:rPr>
              <a:t>——</a:t>
            </a:r>
            <a:r>
              <a:rPr lang="zh-CN" altLang="en-US" b="1">
                <a:latin typeface="黑体" pitchFamily="49" charset="-122"/>
                <a:ea typeface="黑体" pitchFamily="49" charset="-122"/>
              </a:rPr>
              <a:t>概念</a:t>
            </a:r>
          </a:p>
        </p:txBody>
      </p:sp>
      <p:pic>
        <p:nvPicPr>
          <p:cNvPr id="32771" name="Picture 4" descr="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" name="Diagram 29"/>
          <p:cNvGraphicFramePr/>
          <p:nvPr/>
        </p:nvGraphicFramePr>
        <p:xfrm>
          <a:off x="-121285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389" name="Picture 1" descr="C:\Users\Shiqian\Desktop\PPT-蚁族\4031777_141655311000_2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450" y="4184650"/>
            <a:ext cx="111601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1" descr="C:\Users\Shiqian\Desktop\PPT-蚁族\4031777_141655311000_2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89188" y="4184650"/>
            <a:ext cx="111601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Rectangle 31"/>
          <p:cNvSpPr/>
          <p:nvPr/>
        </p:nvSpPr>
        <p:spPr>
          <a:xfrm>
            <a:off x="127000" y="5601434"/>
            <a:ext cx="3644900" cy="1015663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b="1" dirty="0">
                <a:solidFill>
                  <a:schemeClr val="tx1"/>
                </a:solidFill>
              </a:rPr>
              <a:t>大学毕业生聚居群体，受过高等教育，但未能在大城市找到符合预期的工作。</a:t>
            </a:r>
          </a:p>
        </p:txBody>
      </p:sp>
      <p:pic>
        <p:nvPicPr>
          <p:cNvPr id="16394" name="Picture 2" descr="C:\Users\Shiqian\Desktop\PPT-蚁族\1519-1103141314205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905500" y="1668463"/>
            <a:ext cx="3105150" cy="207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5" name="Picture 3" descr="C:\Users\Shiqian\Desktop\PPT-蚁族\s_d2562b6949ce32b4207ba7790886a31e24704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905250" y="1295400"/>
            <a:ext cx="1600200" cy="232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6" name="Picture 4" descr="C:\Users\Shiqian\Desktop\PPT-蚁族\000cf1bdce110d0c530701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94150" y="4584700"/>
            <a:ext cx="28575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7" name="Straight Connector 36"/>
          <p:cNvCxnSpPr/>
          <p:nvPr/>
        </p:nvCxnSpPr>
        <p:spPr>
          <a:xfrm>
            <a:off x="3860800" y="4405313"/>
            <a:ext cx="4845050" cy="1587"/>
          </a:xfrm>
          <a:prstGeom prst="line">
            <a:avLst/>
          </a:prstGeom>
          <a:ln w="57150">
            <a:solidFill>
              <a:srgbClr val="2DC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>
            <a:off x="4162425" y="2820988"/>
            <a:ext cx="3140075" cy="0"/>
          </a:xfrm>
          <a:prstGeom prst="line">
            <a:avLst/>
          </a:prstGeom>
          <a:ln w="57150">
            <a:solidFill>
              <a:srgbClr val="2DC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6394450" y="3815318"/>
            <a:ext cx="2133600" cy="36933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Wingdings" pitchFamily="2" charset="2"/>
              <a:buChar char="Ø"/>
              <a:defRPr/>
            </a:pPr>
            <a:r>
              <a:rPr lang="zh-CN" altLang="en-US" sz="1800" b="1" dirty="0">
                <a:solidFill>
                  <a:schemeClr val="tx1"/>
                </a:solidFill>
              </a:rPr>
              <a:t>受过高等教育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860800" y="3606800"/>
            <a:ext cx="1778000" cy="64633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Wingdings" pitchFamily="2" charset="2"/>
              <a:buChar char="Ø"/>
              <a:defRPr/>
            </a:pPr>
            <a:r>
              <a:rPr lang="zh-CN" altLang="en-US" sz="1800" b="1" dirty="0">
                <a:solidFill>
                  <a:schemeClr val="tx1"/>
                </a:solidFill>
              </a:rPr>
              <a:t>工作稳定性差</a:t>
            </a:r>
            <a:endParaRPr lang="en-US" altLang="zh-CN" sz="1800" b="1" dirty="0">
              <a:solidFill>
                <a:schemeClr val="tx1"/>
              </a:solidFill>
            </a:endParaRPr>
          </a:p>
          <a:p>
            <a:pPr eaLnBrk="0" hangingPunct="0">
              <a:buSzPct val="100000"/>
              <a:buFont typeface="Wingdings" pitchFamily="2" charset="2"/>
              <a:buChar char="Ø"/>
              <a:defRPr/>
            </a:pPr>
            <a:r>
              <a:rPr lang="zh-CN" altLang="en-US" sz="1800" b="1" dirty="0">
                <a:solidFill>
                  <a:schemeClr val="tx1"/>
                </a:solidFill>
              </a:rPr>
              <a:t>收入水平低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972300" y="4984571"/>
            <a:ext cx="1822450" cy="120032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000" indent="-180000" eaLnBrk="0" hangingPunct="0">
              <a:buSzPct val="100000"/>
              <a:buFont typeface="Wingdings" pitchFamily="2" charset="2"/>
              <a:buChar char="Ø"/>
              <a:defRPr/>
            </a:pPr>
            <a:r>
              <a:rPr lang="zh-CN" altLang="en-US" sz="1800" b="1" dirty="0">
                <a:solidFill>
                  <a:schemeClr val="tx1"/>
                </a:solidFill>
              </a:rPr>
              <a:t>长期聚居于租金低廉、环境脏乱差的城乡结合部社区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3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3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3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3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000"/>
                            </p:stCondLst>
                            <p:childTnLst>
                              <p:par>
                                <p:cTn id="27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9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0"/>
                            </p:stCondLst>
                            <p:childTnLst>
                              <p:par>
                                <p:cTn id="3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000"/>
                            </p:stCondLst>
                            <p:childTnLst>
                              <p:par>
                                <p:cTn id="35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7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8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9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0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7000"/>
                            </p:stCondLst>
                            <p:childTnLst>
                              <p:par>
                                <p:cTn id="42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4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5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6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7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000"/>
                            </p:stCondLst>
                            <p:childTnLst>
                              <p:par>
                                <p:cTn id="49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51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2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53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54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9000"/>
                            </p:stCondLst>
                            <p:childTnLst>
                              <p:par>
                                <p:cTn id="56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58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9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60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61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0"/>
                            </p:stCondLst>
                            <p:childTnLst>
                              <p:par>
                                <p:cTn id="63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65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66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67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68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63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1000"/>
                            </p:stCondLst>
                            <p:childTnLst>
                              <p:par>
                                <p:cTn id="70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7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73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74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75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0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20" imgW="360" imgH="360" progId="">
              <p:embed/>
            </p:oleObj>
          </a:graphicData>
        </a:graphic>
      </p:graphicFrame>
      <p:sp>
        <p:nvSpPr>
          <p:cNvPr id="6147" name="Text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9300" y="400050"/>
            <a:ext cx="52562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b="1">
                <a:latin typeface="黑体" pitchFamily="49" charset="-122"/>
                <a:ea typeface="黑体" pitchFamily="49" charset="-122"/>
              </a:rPr>
              <a:t>“蚁族”现象</a:t>
            </a:r>
            <a:r>
              <a:rPr lang="en-US" altLang="zh-CN" b="1">
                <a:latin typeface="黑体" pitchFamily="49" charset="-122"/>
                <a:ea typeface="黑体" pitchFamily="49" charset="-122"/>
              </a:rPr>
              <a:t>——</a:t>
            </a:r>
            <a:r>
              <a:rPr lang="zh-CN" altLang="en-US" b="1">
                <a:latin typeface="黑体" pitchFamily="49" charset="-122"/>
                <a:ea typeface="黑体" pitchFamily="49" charset="-122"/>
              </a:rPr>
              <a:t>特征</a:t>
            </a:r>
          </a:p>
        </p:txBody>
      </p:sp>
      <p:pic>
        <p:nvPicPr>
          <p:cNvPr id="6148" name="Picture 4" descr="9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Diagram 4"/>
          <p:cNvGraphicFramePr/>
          <p:nvPr>
            <p:custDataLst>
              <p:tags r:id="rId4"/>
            </p:custDataLst>
          </p:nvPr>
        </p:nvGraphicFramePr>
        <p:xfrm>
          <a:off x="-6350" y="2362200"/>
          <a:ext cx="4267200" cy="3898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pic>
        <p:nvPicPr>
          <p:cNvPr id="6150" name="Picture 1" descr="C:\Users\Shiqian\Desktop\PPT-蚁族\4031777_141655311000_2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788" y="1250950"/>
            <a:ext cx="111601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62"/>
          <p:cNvGrpSpPr>
            <a:grpSpLocks/>
          </p:cNvGrpSpPr>
          <p:nvPr/>
        </p:nvGrpSpPr>
        <p:grpSpPr bwMode="auto">
          <a:xfrm>
            <a:off x="4346975" y="4184650"/>
            <a:ext cx="4725525" cy="2044700"/>
            <a:chOff x="4660900" y="4184650"/>
            <a:chExt cx="4438463" cy="2044700"/>
          </a:xfrm>
        </p:grpSpPr>
        <p:grpSp>
          <p:nvGrpSpPr>
            <p:cNvPr id="6173" name="Group 19"/>
            <p:cNvGrpSpPr>
              <a:grpSpLocks/>
            </p:cNvGrpSpPr>
            <p:nvPr/>
          </p:nvGrpSpPr>
          <p:grpSpPr bwMode="auto">
            <a:xfrm>
              <a:off x="4660900" y="4184650"/>
              <a:ext cx="2029012" cy="577850"/>
              <a:chOff x="4483100" y="4095750"/>
              <a:chExt cx="2029012" cy="577850"/>
            </a:xfrm>
          </p:grpSpPr>
          <p:sp>
            <p:nvSpPr>
              <p:cNvPr id="21" name="Rounded Rectangle 20"/>
              <p:cNvSpPr/>
              <p:nvPr>
                <p:custDataLst>
                  <p:tags r:id="rId16"/>
                </p:custDataLst>
              </p:nvPr>
            </p:nvSpPr>
            <p:spPr>
              <a:xfrm>
                <a:off x="4572000" y="4122738"/>
                <a:ext cx="1940112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22" name="Oval 21"/>
              <p:cNvSpPr/>
              <p:nvPr>
                <p:custDataLst>
                  <p:tags r:id="rId17"/>
                </p:custDataLst>
              </p:nvPr>
            </p:nvSpPr>
            <p:spPr>
              <a:xfrm>
                <a:off x="4483100" y="4095750"/>
                <a:ext cx="577850" cy="577850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6205" name="TextBox 23"/>
              <p:cNvSpPr txBox="1">
                <a:spLocks noChangeArrowheads="1"/>
              </p:cNvSpPr>
              <p:nvPr/>
            </p:nvSpPr>
            <p:spPr bwMode="auto">
              <a:xfrm>
                <a:off x="4527550" y="4109605"/>
                <a:ext cx="666750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>
                  <a:buSzPct val="100000"/>
                  <a:buFont typeface="Times New Roman" pitchFamily="18" charset="0"/>
                  <a:buNone/>
                </a:pPr>
                <a:r>
                  <a:rPr lang="zh-CN" altLang="en-US" sz="2800" b="1"/>
                  <a:t>多</a:t>
                </a:r>
              </a:p>
            </p:txBody>
          </p:sp>
        </p:grpSp>
        <p:grpSp>
          <p:nvGrpSpPr>
            <p:cNvPr id="6174" name="Group 24"/>
            <p:cNvGrpSpPr>
              <a:grpSpLocks/>
            </p:cNvGrpSpPr>
            <p:nvPr/>
          </p:nvGrpSpPr>
          <p:grpSpPr bwMode="auto">
            <a:xfrm>
              <a:off x="6883400" y="4184650"/>
              <a:ext cx="2215963" cy="577850"/>
              <a:chOff x="6705600" y="4184650"/>
              <a:chExt cx="2215963" cy="577850"/>
            </a:xfrm>
          </p:grpSpPr>
          <p:sp>
            <p:nvSpPr>
              <p:cNvPr id="26" name="Rounded Rectangle 25"/>
              <p:cNvSpPr/>
              <p:nvPr>
                <p:custDataLst>
                  <p:tags r:id="rId14"/>
                </p:custDataLst>
              </p:nvPr>
            </p:nvSpPr>
            <p:spPr>
              <a:xfrm>
                <a:off x="6705600" y="4211638"/>
                <a:ext cx="1822450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grpSp>
            <p:nvGrpSpPr>
              <p:cNvPr id="6200" name="Group 13"/>
              <p:cNvGrpSpPr>
                <a:grpSpLocks/>
              </p:cNvGrpSpPr>
              <p:nvPr/>
            </p:nvGrpSpPr>
            <p:grpSpPr bwMode="auto">
              <a:xfrm>
                <a:off x="8216900" y="4184650"/>
                <a:ext cx="704663" cy="577850"/>
                <a:chOff x="6350000" y="4095750"/>
                <a:chExt cx="704663" cy="577850"/>
              </a:xfrm>
            </p:grpSpPr>
            <p:sp>
              <p:nvSpPr>
                <p:cNvPr id="28" name="Oval 27"/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6350000" y="4095750"/>
                  <a:ext cx="577850" cy="577850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solidFill>
                    <a:srgbClr val="92D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0" hangingPunct="0">
                    <a:buSzPct val="100000"/>
                    <a:buFont typeface="Times New Roman" pitchFamily="18" charset="0"/>
                    <a:buNone/>
                    <a:defRPr/>
                  </a:pPr>
                  <a:endParaRPr lang="zh-CN" altLang="en-US"/>
                </a:p>
              </p:txBody>
            </p:sp>
            <p:sp>
              <p:nvSpPr>
                <p:cNvPr id="6202" name="TextBox 28"/>
                <p:cNvSpPr txBox="1">
                  <a:spLocks noChangeArrowheads="1"/>
                </p:cNvSpPr>
                <p:nvPr/>
              </p:nvSpPr>
              <p:spPr bwMode="auto">
                <a:xfrm>
                  <a:off x="6387913" y="4109605"/>
                  <a:ext cx="666750" cy="52322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eaLnBrk="0" hangingPunct="0">
                    <a:buSzPct val="100000"/>
                    <a:buFont typeface="Times New Roman" pitchFamily="18" charset="0"/>
                    <a:buNone/>
                  </a:pPr>
                  <a:r>
                    <a:rPr lang="zh-CN" altLang="en-US" sz="2800" b="1" dirty="0"/>
                    <a:t>少</a:t>
                  </a:r>
                </a:p>
              </p:txBody>
            </p:sp>
          </p:grpSp>
        </p:grpSp>
        <p:sp>
          <p:nvSpPr>
            <p:cNvPr id="6175" name="TextBox 29"/>
            <p:cNvSpPr txBox="1">
              <a:spLocks noChangeArrowheads="1"/>
            </p:cNvSpPr>
            <p:nvPr/>
          </p:nvSpPr>
          <p:spPr bwMode="auto">
            <a:xfrm>
              <a:off x="5194300" y="4273550"/>
              <a:ext cx="163217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1600" b="1" dirty="0" smtClean="0"/>
                <a:t>出身家庭条件好</a:t>
              </a:r>
              <a:endParaRPr lang="zh-CN" altLang="en-US" sz="1600" b="1" dirty="0"/>
            </a:p>
          </p:txBody>
        </p:sp>
        <p:sp>
          <p:nvSpPr>
            <p:cNvPr id="3" name="TextBox 30"/>
            <p:cNvSpPr txBox="1">
              <a:spLocks noChangeArrowheads="1"/>
            </p:cNvSpPr>
            <p:nvPr/>
          </p:nvSpPr>
          <p:spPr bwMode="auto">
            <a:xfrm>
              <a:off x="6883400" y="4273550"/>
              <a:ext cx="153302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</a:pPr>
              <a:r>
                <a:rPr lang="zh-CN" altLang="en-US" sz="1600" b="1" dirty="0" smtClean="0"/>
                <a:t>出身家庭条件差</a:t>
              </a:r>
              <a:endParaRPr lang="zh-CN" altLang="en-US" sz="1600" b="1" dirty="0"/>
            </a:p>
          </p:txBody>
        </p:sp>
        <p:grpSp>
          <p:nvGrpSpPr>
            <p:cNvPr id="4" name="Group 31"/>
            <p:cNvGrpSpPr>
              <a:grpSpLocks/>
            </p:cNvGrpSpPr>
            <p:nvPr/>
          </p:nvGrpSpPr>
          <p:grpSpPr bwMode="auto">
            <a:xfrm>
              <a:off x="4660900" y="4940300"/>
              <a:ext cx="2029012" cy="577850"/>
              <a:chOff x="4483100" y="4095750"/>
              <a:chExt cx="2029012" cy="577850"/>
            </a:xfrm>
          </p:grpSpPr>
          <p:sp>
            <p:nvSpPr>
              <p:cNvPr id="33" name="Rounded Rectangle 32"/>
              <p:cNvSpPr/>
              <p:nvPr>
                <p:custDataLst>
                  <p:tags r:id="rId12"/>
                </p:custDataLst>
              </p:nvPr>
            </p:nvSpPr>
            <p:spPr>
              <a:xfrm>
                <a:off x="4572000" y="4122738"/>
                <a:ext cx="1940112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34" name="Oval 33"/>
              <p:cNvSpPr/>
              <p:nvPr>
                <p:custDataLst>
                  <p:tags r:id="rId13"/>
                </p:custDataLst>
              </p:nvPr>
            </p:nvSpPr>
            <p:spPr>
              <a:xfrm>
                <a:off x="4483100" y="4095750"/>
                <a:ext cx="577850" cy="577850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6198" name="TextBox 34"/>
              <p:cNvSpPr txBox="1">
                <a:spLocks noChangeArrowheads="1"/>
              </p:cNvSpPr>
              <p:nvPr/>
            </p:nvSpPr>
            <p:spPr bwMode="auto">
              <a:xfrm>
                <a:off x="4527550" y="4109605"/>
                <a:ext cx="666750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>
                  <a:buSzPct val="100000"/>
                  <a:buFont typeface="Times New Roman" pitchFamily="18" charset="0"/>
                  <a:buNone/>
                </a:pPr>
                <a:r>
                  <a:rPr lang="zh-CN" altLang="en-US" sz="2800" b="1"/>
                  <a:t>多</a:t>
                </a:r>
              </a:p>
            </p:txBody>
          </p:sp>
        </p:grpSp>
        <p:grpSp>
          <p:nvGrpSpPr>
            <p:cNvPr id="6" name="Group 35"/>
            <p:cNvGrpSpPr>
              <a:grpSpLocks/>
            </p:cNvGrpSpPr>
            <p:nvPr/>
          </p:nvGrpSpPr>
          <p:grpSpPr bwMode="auto">
            <a:xfrm>
              <a:off x="6883400" y="4940300"/>
              <a:ext cx="2215963" cy="577850"/>
              <a:chOff x="6705600" y="4184650"/>
              <a:chExt cx="2215963" cy="577850"/>
            </a:xfrm>
          </p:grpSpPr>
          <p:sp>
            <p:nvSpPr>
              <p:cNvPr id="37" name="Rounded Rectangle 36"/>
              <p:cNvSpPr/>
              <p:nvPr>
                <p:custDataLst>
                  <p:tags r:id="rId10"/>
                </p:custDataLst>
              </p:nvPr>
            </p:nvSpPr>
            <p:spPr>
              <a:xfrm>
                <a:off x="6705600" y="4211638"/>
                <a:ext cx="1822450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grpSp>
            <p:nvGrpSpPr>
              <p:cNvPr id="6193" name="Group 13"/>
              <p:cNvGrpSpPr>
                <a:grpSpLocks/>
              </p:cNvGrpSpPr>
              <p:nvPr/>
            </p:nvGrpSpPr>
            <p:grpSpPr bwMode="auto">
              <a:xfrm>
                <a:off x="8216900" y="4184650"/>
                <a:ext cx="704663" cy="577850"/>
                <a:chOff x="6350000" y="4095750"/>
                <a:chExt cx="704663" cy="577850"/>
              </a:xfrm>
            </p:grpSpPr>
            <p:sp>
              <p:nvSpPr>
                <p:cNvPr id="39" name="Oval 38"/>
                <p:cNvSpPr/>
                <p:nvPr>
                  <p:custDataLst>
                    <p:tags r:id="rId11"/>
                  </p:custDataLst>
                </p:nvPr>
              </p:nvSpPr>
              <p:spPr>
                <a:xfrm>
                  <a:off x="6350000" y="4095750"/>
                  <a:ext cx="577850" cy="577850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solidFill>
                    <a:srgbClr val="92D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0" hangingPunct="0">
                    <a:buSzPct val="100000"/>
                    <a:buFont typeface="Times New Roman" pitchFamily="18" charset="0"/>
                    <a:buNone/>
                    <a:defRPr/>
                  </a:pPr>
                  <a:endParaRPr lang="zh-CN" altLang="en-US"/>
                </a:p>
              </p:txBody>
            </p:sp>
            <p:sp>
              <p:nvSpPr>
                <p:cNvPr id="6195" name="TextBox 39"/>
                <p:cNvSpPr txBox="1">
                  <a:spLocks noChangeArrowheads="1"/>
                </p:cNvSpPr>
                <p:nvPr/>
              </p:nvSpPr>
              <p:spPr bwMode="auto">
                <a:xfrm>
                  <a:off x="6387913" y="4109605"/>
                  <a:ext cx="666750" cy="52322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eaLnBrk="0" hangingPunct="0">
                    <a:buSzPct val="100000"/>
                    <a:buFont typeface="Times New Roman" pitchFamily="18" charset="0"/>
                    <a:buNone/>
                  </a:pPr>
                  <a:r>
                    <a:rPr lang="zh-CN" altLang="en-US" sz="2800" b="1" dirty="0"/>
                    <a:t>少</a:t>
                  </a:r>
                </a:p>
              </p:txBody>
            </p:sp>
          </p:grpSp>
        </p:grpSp>
        <p:sp>
          <p:nvSpPr>
            <p:cNvPr id="7" name="TextBox 40"/>
            <p:cNvSpPr txBox="1">
              <a:spLocks noChangeArrowheads="1"/>
            </p:cNvSpPr>
            <p:nvPr/>
          </p:nvSpPr>
          <p:spPr bwMode="auto">
            <a:xfrm>
              <a:off x="5194300" y="5029200"/>
              <a:ext cx="9503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1600" b="1" dirty="0"/>
                <a:t>收入支出</a:t>
              </a:r>
            </a:p>
          </p:txBody>
        </p:sp>
        <p:sp>
          <p:nvSpPr>
            <p:cNvPr id="8" name="TextBox 41"/>
            <p:cNvSpPr txBox="1">
              <a:spLocks noChangeArrowheads="1"/>
            </p:cNvSpPr>
            <p:nvPr/>
          </p:nvSpPr>
          <p:spPr bwMode="auto">
            <a:xfrm>
              <a:off x="6883400" y="5029200"/>
              <a:ext cx="9503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1600" b="1" dirty="0"/>
                <a:t>收入结余</a:t>
              </a:r>
            </a:p>
          </p:txBody>
        </p:sp>
        <p:grpSp>
          <p:nvGrpSpPr>
            <p:cNvPr id="6181" name="Group 42"/>
            <p:cNvGrpSpPr>
              <a:grpSpLocks/>
            </p:cNvGrpSpPr>
            <p:nvPr/>
          </p:nvGrpSpPr>
          <p:grpSpPr bwMode="auto">
            <a:xfrm>
              <a:off x="4660900" y="5651500"/>
              <a:ext cx="2029012" cy="577850"/>
              <a:chOff x="4483100" y="4095750"/>
              <a:chExt cx="2029012" cy="577850"/>
            </a:xfrm>
          </p:grpSpPr>
          <p:sp>
            <p:nvSpPr>
              <p:cNvPr id="44" name="Rounded Rectangle 43"/>
              <p:cNvSpPr/>
              <p:nvPr>
                <p:custDataLst>
                  <p:tags r:id="rId8"/>
                </p:custDataLst>
              </p:nvPr>
            </p:nvSpPr>
            <p:spPr>
              <a:xfrm>
                <a:off x="4572000" y="4122738"/>
                <a:ext cx="1940112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45" name="Oval 44"/>
              <p:cNvSpPr/>
              <p:nvPr>
                <p:custDataLst>
                  <p:tags r:id="rId9"/>
                </p:custDataLst>
              </p:nvPr>
            </p:nvSpPr>
            <p:spPr>
              <a:xfrm>
                <a:off x="4483100" y="4095750"/>
                <a:ext cx="577850" cy="577850"/>
              </a:xfrm>
              <a:prstGeom prst="ellipse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sp>
            <p:nvSpPr>
              <p:cNvPr id="6191" name="TextBox 45"/>
              <p:cNvSpPr txBox="1">
                <a:spLocks noChangeArrowheads="1"/>
              </p:cNvSpPr>
              <p:nvPr/>
            </p:nvSpPr>
            <p:spPr bwMode="auto">
              <a:xfrm>
                <a:off x="4527550" y="4109605"/>
                <a:ext cx="666750" cy="5232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>
                  <a:buSzPct val="100000"/>
                  <a:buFont typeface="Times New Roman" pitchFamily="18" charset="0"/>
                  <a:buNone/>
                </a:pPr>
                <a:r>
                  <a:rPr lang="zh-CN" altLang="en-US" sz="2800" b="1"/>
                  <a:t>多</a:t>
                </a:r>
              </a:p>
            </p:txBody>
          </p:sp>
        </p:grpSp>
        <p:grpSp>
          <p:nvGrpSpPr>
            <p:cNvPr id="6182" name="Group 46"/>
            <p:cNvGrpSpPr>
              <a:grpSpLocks/>
            </p:cNvGrpSpPr>
            <p:nvPr/>
          </p:nvGrpSpPr>
          <p:grpSpPr bwMode="auto">
            <a:xfrm>
              <a:off x="6883400" y="5651500"/>
              <a:ext cx="2215963" cy="577850"/>
              <a:chOff x="6705600" y="4184650"/>
              <a:chExt cx="2215963" cy="577850"/>
            </a:xfrm>
          </p:grpSpPr>
          <p:sp>
            <p:nvSpPr>
              <p:cNvPr id="48" name="Rounded Rectangle 47"/>
              <p:cNvSpPr/>
              <p:nvPr>
                <p:custDataLst>
                  <p:tags r:id="rId6"/>
                </p:custDataLst>
              </p:nvPr>
            </p:nvSpPr>
            <p:spPr>
              <a:xfrm>
                <a:off x="6705600" y="4211638"/>
                <a:ext cx="1822450" cy="533400"/>
              </a:xfrm>
              <a:prstGeom prst="roundRect">
                <a:avLst/>
              </a:prstGeom>
              <a:solidFill>
                <a:srgbClr val="2DC8FF"/>
              </a:solidFill>
              <a:ln>
                <a:solidFill>
                  <a:srgbClr val="2DC8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buSzPct val="100000"/>
                  <a:buFont typeface="Times New Roman" pitchFamily="18" charset="0"/>
                  <a:buNone/>
                  <a:defRPr/>
                </a:pPr>
                <a:endParaRPr lang="zh-CN" altLang="en-US"/>
              </a:p>
            </p:txBody>
          </p:sp>
          <p:grpSp>
            <p:nvGrpSpPr>
              <p:cNvPr id="6186" name="Group 13"/>
              <p:cNvGrpSpPr>
                <a:grpSpLocks/>
              </p:cNvGrpSpPr>
              <p:nvPr/>
            </p:nvGrpSpPr>
            <p:grpSpPr bwMode="auto">
              <a:xfrm>
                <a:off x="8216900" y="4184650"/>
                <a:ext cx="704663" cy="577850"/>
                <a:chOff x="6350000" y="4095750"/>
                <a:chExt cx="704663" cy="577850"/>
              </a:xfrm>
            </p:grpSpPr>
            <p:sp>
              <p:nvSpPr>
                <p:cNvPr id="50" name="Oval 49"/>
                <p:cNvSpPr/>
                <p:nvPr>
                  <p:custDataLst>
                    <p:tags r:id="rId7"/>
                  </p:custDataLst>
                </p:nvPr>
              </p:nvSpPr>
              <p:spPr>
                <a:xfrm>
                  <a:off x="6350000" y="4095750"/>
                  <a:ext cx="577850" cy="577850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solidFill>
                    <a:srgbClr val="92D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0" hangingPunct="0">
                    <a:buSzPct val="100000"/>
                    <a:buFont typeface="Times New Roman" pitchFamily="18" charset="0"/>
                    <a:buNone/>
                    <a:defRPr/>
                  </a:pPr>
                  <a:endParaRPr lang="zh-CN" altLang="en-US"/>
                </a:p>
              </p:txBody>
            </p:sp>
            <p:sp>
              <p:nvSpPr>
                <p:cNvPr id="6188" name="TextBox 50"/>
                <p:cNvSpPr txBox="1">
                  <a:spLocks noChangeArrowheads="1"/>
                </p:cNvSpPr>
                <p:nvPr/>
              </p:nvSpPr>
              <p:spPr bwMode="auto">
                <a:xfrm>
                  <a:off x="6387913" y="4109605"/>
                  <a:ext cx="666750" cy="52322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eaLnBrk="0" hangingPunct="0">
                    <a:buSzPct val="100000"/>
                    <a:buFont typeface="Times New Roman" pitchFamily="18" charset="0"/>
                    <a:buNone/>
                  </a:pPr>
                  <a:r>
                    <a:rPr lang="zh-CN" altLang="en-US" sz="2800" b="1" dirty="0"/>
                    <a:t>少</a:t>
                  </a:r>
                </a:p>
              </p:txBody>
            </p:sp>
          </p:grpSp>
        </p:grpSp>
        <p:sp>
          <p:nvSpPr>
            <p:cNvPr id="6183" name="TextBox 51"/>
            <p:cNvSpPr txBox="1">
              <a:spLocks noChangeArrowheads="1"/>
            </p:cNvSpPr>
            <p:nvPr/>
          </p:nvSpPr>
          <p:spPr bwMode="auto">
            <a:xfrm>
              <a:off x="5194300" y="5740400"/>
              <a:ext cx="9503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1600" b="1" dirty="0"/>
                <a:t>网络交往</a:t>
              </a:r>
            </a:p>
          </p:txBody>
        </p:sp>
        <p:sp>
          <p:nvSpPr>
            <p:cNvPr id="6184" name="TextBox 52"/>
            <p:cNvSpPr txBox="1">
              <a:spLocks noChangeArrowheads="1"/>
            </p:cNvSpPr>
            <p:nvPr/>
          </p:nvSpPr>
          <p:spPr bwMode="auto">
            <a:xfrm>
              <a:off x="6883400" y="5740400"/>
              <a:ext cx="95035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1600" b="1" dirty="0"/>
                <a:t>现实联系</a:t>
              </a:r>
            </a:p>
          </p:txBody>
        </p:sp>
      </p:grpSp>
      <p:pic>
        <p:nvPicPr>
          <p:cNvPr id="6163" name="Picture 1" descr="C:\Users\Shiqian\Desktop\PPT-蚁族\4031777_141655311000_2.jpg"/>
          <p:cNvPicPr>
            <a:picLocks noChangeAspect="1" noChangeArrowheads="1"/>
          </p:cNvPicPr>
          <p:nvPr/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89388" y="1162050"/>
            <a:ext cx="111601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" name="Group 59"/>
          <p:cNvGrpSpPr>
            <a:grpSpLocks/>
          </p:cNvGrpSpPr>
          <p:nvPr/>
        </p:nvGrpSpPr>
        <p:grpSpPr bwMode="auto">
          <a:xfrm>
            <a:off x="5191125" y="1917700"/>
            <a:ext cx="492125" cy="2000250"/>
            <a:chOff x="5191125" y="1917700"/>
            <a:chExt cx="492125" cy="2000250"/>
          </a:xfrm>
        </p:grpSpPr>
        <p:sp>
          <p:nvSpPr>
            <p:cNvPr id="70" name="Rectangle 69"/>
            <p:cNvSpPr/>
            <p:nvPr/>
          </p:nvSpPr>
          <p:spPr>
            <a:xfrm>
              <a:off x="5194300" y="1917700"/>
              <a:ext cx="488950" cy="2000250"/>
            </a:xfrm>
            <a:prstGeom prst="rect">
              <a:avLst/>
            </a:prstGeom>
            <a:solidFill>
              <a:srgbClr val="2DC8FF"/>
            </a:solidFill>
            <a:ln>
              <a:solidFill>
                <a:srgbClr val="2DC8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buSzPct val="100000"/>
                <a:buFont typeface="Times New Roman" pitchFamily="18" charset="0"/>
                <a:buNone/>
                <a:defRPr/>
              </a:pPr>
              <a:endParaRPr lang="zh-CN" altLang="en-US" dirty="0"/>
            </a:p>
          </p:txBody>
        </p:sp>
        <p:sp>
          <p:nvSpPr>
            <p:cNvPr id="6172" name="TextBox 70"/>
            <p:cNvSpPr txBox="1">
              <a:spLocks noChangeArrowheads="1"/>
            </p:cNvSpPr>
            <p:nvPr/>
          </p:nvSpPr>
          <p:spPr bwMode="auto">
            <a:xfrm>
              <a:off x="5191125" y="2317750"/>
              <a:ext cx="492125" cy="1511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eaVert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000" b="1"/>
                <a:t>失业比例</a:t>
              </a:r>
            </a:p>
          </p:txBody>
        </p:sp>
      </p:grpSp>
      <p:sp>
        <p:nvSpPr>
          <p:cNvPr id="72" name="Rectangle 71"/>
          <p:cNvSpPr/>
          <p:nvPr/>
        </p:nvSpPr>
        <p:spPr>
          <a:xfrm>
            <a:off x="5786438" y="2273300"/>
            <a:ext cx="488950" cy="1644650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 dirty="0"/>
          </a:p>
        </p:txBody>
      </p:sp>
      <p:sp>
        <p:nvSpPr>
          <p:cNvPr id="73" name="Rectangle 72"/>
          <p:cNvSpPr/>
          <p:nvPr/>
        </p:nvSpPr>
        <p:spPr>
          <a:xfrm>
            <a:off x="6394450" y="2540000"/>
            <a:ext cx="488950" cy="1377950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 dirty="0"/>
          </a:p>
        </p:txBody>
      </p:sp>
      <p:sp>
        <p:nvSpPr>
          <p:cNvPr id="74" name="Rectangle 73"/>
          <p:cNvSpPr/>
          <p:nvPr/>
        </p:nvSpPr>
        <p:spPr>
          <a:xfrm>
            <a:off x="7239000" y="2540000"/>
            <a:ext cx="488950" cy="1377950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 dirty="0"/>
          </a:p>
        </p:txBody>
      </p:sp>
      <p:sp>
        <p:nvSpPr>
          <p:cNvPr id="75" name="Rectangle 74"/>
          <p:cNvSpPr/>
          <p:nvPr/>
        </p:nvSpPr>
        <p:spPr>
          <a:xfrm>
            <a:off x="8577263" y="1874838"/>
            <a:ext cx="488950" cy="2049462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 dirty="0"/>
          </a:p>
        </p:txBody>
      </p:sp>
      <p:sp>
        <p:nvSpPr>
          <p:cNvPr id="77" name="Rectangle 76"/>
          <p:cNvSpPr/>
          <p:nvPr/>
        </p:nvSpPr>
        <p:spPr>
          <a:xfrm>
            <a:off x="7964488" y="2438400"/>
            <a:ext cx="488950" cy="1479550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 dirty="0"/>
          </a:p>
        </p:txBody>
      </p:sp>
      <p:grpSp>
        <p:nvGrpSpPr>
          <p:cNvPr id="17" name="Group 58"/>
          <p:cNvGrpSpPr>
            <a:grpSpLocks/>
          </p:cNvGrpSpPr>
          <p:nvPr/>
        </p:nvGrpSpPr>
        <p:grpSpPr bwMode="auto">
          <a:xfrm>
            <a:off x="5327650" y="1428750"/>
            <a:ext cx="1644650" cy="889000"/>
            <a:chOff x="5327650" y="1428750"/>
            <a:chExt cx="1644650" cy="889000"/>
          </a:xfrm>
        </p:grpSpPr>
        <p:cxnSp>
          <p:nvCxnSpPr>
            <p:cNvPr id="58" name="Curved Connector 57"/>
            <p:cNvCxnSpPr/>
            <p:nvPr/>
          </p:nvCxnSpPr>
          <p:spPr>
            <a:xfrm>
              <a:off x="5327650" y="1428750"/>
              <a:ext cx="1600200" cy="889000"/>
            </a:xfrm>
            <a:prstGeom prst="curvedConnector3">
              <a:avLst>
                <a:gd name="adj1" fmla="val 50000"/>
              </a:avLst>
            </a:prstGeom>
            <a:ln w="762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70" name="TextBox 77"/>
            <p:cNvSpPr txBox="1">
              <a:spLocks noChangeArrowheads="1"/>
            </p:cNvSpPr>
            <p:nvPr/>
          </p:nvSpPr>
          <p:spPr bwMode="auto">
            <a:xfrm>
              <a:off x="6172200" y="1517650"/>
              <a:ext cx="800100" cy="461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400" b="1"/>
                <a:t>三降</a:t>
              </a:r>
            </a:p>
          </p:txBody>
        </p:sp>
      </p:grpSp>
      <p:grpSp>
        <p:nvGrpSpPr>
          <p:cNvPr id="18" name="Group 60"/>
          <p:cNvGrpSpPr>
            <a:grpSpLocks/>
          </p:cNvGrpSpPr>
          <p:nvPr/>
        </p:nvGrpSpPr>
        <p:grpSpPr bwMode="auto">
          <a:xfrm>
            <a:off x="7150100" y="1517650"/>
            <a:ext cx="1733550" cy="933450"/>
            <a:chOff x="7150100" y="1517650"/>
            <a:chExt cx="1733550" cy="933450"/>
          </a:xfrm>
        </p:grpSpPr>
        <p:cxnSp>
          <p:nvCxnSpPr>
            <p:cNvPr id="62" name="Curved Connector 61"/>
            <p:cNvCxnSpPr/>
            <p:nvPr/>
          </p:nvCxnSpPr>
          <p:spPr>
            <a:xfrm flipV="1">
              <a:off x="7239000" y="1651000"/>
              <a:ext cx="1644650" cy="800100"/>
            </a:xfrm>
            <a:prstGeom prst="curvedConnector3">
              <a:avLst>
                <a:gd name="adj1" fmla="val 38206"/>
              </a:avLst>
            </a:prstGeom>
            <a:ln w="762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68" name="TextBox 78"/>
            <p:cNvSpPr txBox="1">
              <a:spLocks noChangeArrowheads="1"/>
            </p:cNvSpPr>
            <p:nvPr/>
          </p:nvSpPr>
          <p:spPr bwMode="auto">
            <a:xfrm>
              <a:off x="7150100" y="1517650"/>
              <a:ext cx="800100" cy="461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400" b="1"/>
                <a:t>三升</a:t>
              </a:r>
            </a:p>
          </p:txBody>
        </p:sp>
      </p:grpSp>
      <p:sp>
        <p:nvSpPr>
          <p:cNvPr id="6176" name="TextBox 79"/>
          <p:cNvSpPr txBox="1">
            <a:spLocks noChangeArrowheads="1"/>
          </p:cNvSpPr>
          <p:nvPr/>
        </p:nvSpPr>
        <p:spPr bwMode="auto">
          <a:xfrm>
            <a:off x="5799138" y="2236788"/>
            <a:ext cx="461962" cy="168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en-US" altLang="zh-CN" sz="1800" b="1"/>
              <a:t>﹃</a:t>
            </a:r>
            <a:r>
              <a:rPr lang="zh-CN" altLang="en-US" sz="1800" b="1"/>
              <a:t>铁饭碗</a:t>
            </a:r>
            <a:r>
              <a:rPr lang="en-US" altLang="zh-CN" sz="1800" b="1"/>
              <a:t>﹄</a:t>
            </a:r>
            <a:r>
              <a:rPr lang="zh-CN" altLang="en-US" sz="1800" b="1"/>
              <a:t>比例</a:t>
            </a:r>
          </a:p>
        </p:txBody>
      </p:sp>
      <p:sp>
        <p:nvSpPr>
          <p:cNvPr id="6177" name="TextBox 80"/>
          <p:cNvSpPr txBox="1">
            <a:spLocks noChangeArrowheads="1"/>
          </p:cNvSpPr>
          <p:nvPr/>
        </p:nvSpPr>
        <p:spPr bwMode="auto">
          <a:xfrm>
            <a:off x="6376988" y="2603500"/>
            <a:ext cx="461962" cy="131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1800" b="1"/>
              <a:t>换工作频率</a:t>
            </a:r>
          </a:p>
        </p:txBody>
      </p:sp>
      <p:sp>
        <p:nvSpPr>
          <p:cNvPr id="6178" name="TextBox 81"/>
          <p:cNvSpPr txBox="1">
            <a:spLocks noChangeArrowheads="1"/>
          </p:cNvSpPr>
          <p:nvPr/>
        </p:nvSpPr>
        <p:spPr bwMode="auto">
          <a:xfrm>
            <a:off x="7221538" y="2673350"/>
            <a:ext cx="461962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1800" b="1"/>
              <a:t>学历层次</a:t>
            </a:r>
          </a:p>
        </p:txBody>
      </p:sp>
      <p:sp>
        <p:nvSpPr>
          <p:cNvPr id="6179" name="TextBox 82"/>
          <p:cNvSpPr txBox="1">
            <a:spLocks noChangeArrowheads="1"/>
          </p:cNvSpPr>
          <p:nvPr/>
        </p:nvSpPr>
        <p:spPr bwMode="auto">
          <a:xfrm>
            <a:off x="8610600" y="1844675"/>
            <a:ext cx="461963" cy="2124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1800" b="1"/>
              <a:t>重点大学毕业生比例</a:t>
            </a:r>
          </a:p>
        </p:txBody>
      </p:sp>
      <p:sp>
        <p:nvSpPr>
          <p:cNvPr id="6180" name="TextBox 83"/>
          <p:cNvSpPr txBox="1">
            <a:spLocks noChangeArrowheads="1"/>
          </p:cNvSpPr>
          <p:nvPr/>
        </p:nvSpPr>
        <p:spPr bwMode="auto">
          <a:xfrm>
            <a:off x="7947025" y="2352675"/>
            <a:ext cx="461963" cy="152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en-US" altLang="zh-CN" sz="1800" b="1"/>
              <a:t>﹃</a:t>
            </a:r>
            <a:r>
              <a:rPr lang="zh-CN" altLang="en-US" sz="1800" b="1"/>
              <a:t>蚁族</a:t>
            </a:r>
            <a:r>
              <a:rPr lang="en-US" altLang="zh-CN" sz="1800" b="1"/>
              <a:t>﹄</a:t>
            </a:r>
            <a:r>
              <a:rPr lang="zh-CN" altLang="en-US" sz="1800" b="1"/>
              <a:t>年龄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1000"/>
                                        <p:tgtEl>
                                          <p:spTgt spid="6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1000"/>
                                        <p:tgtEl>
                                          <p:spTgt spid="6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5" dur="1000"/>
                                        <p:tgtEl>
                                          <p:spTgt spid="6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1000"/>
                                        <p:tgtEl>
                                          <p:spTgt spid="6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1000"/>
                            </p:stCondLst>
                            <p:childTnLst>
                              <p:par>
                                <p:cTn id="4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1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0"/>
                            </p:stCondLst>
                            <p:childTnLst>
                              <p:par>
                                <p:cTn id="5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5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0"/>
                            </p:stCondLst>
                            <p:childTnLst>
                              <p:par>
                                <p:cTn id="5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9" dur="1000"/>
                                        <p:tgtEl>
                                          <p:spTgt spid="6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000"/>
                            </p:stCondLst>
                            <p:childTnLst>
                              <p:par>
                                <p:cTn id="6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3" dur="1000"/>
                                        <p:tgtEl>
                                          <p:spTgt spid="6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5000"/>
                            </p:stCondLst>
                            <p:childTnLst>
                              <p:par>
                                <p:cTn id="6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1000"/>
                                        <p:tgtEl>
                                          <p:spTgt spid="6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6000"/>
                            </p:stCondLst>
                            <p:childTnLst>
                              <p:par>
                                <p:cTn id="69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71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72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73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74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72" grpId="0" animBg="1"/>
      <p:bldP spid="73" grpId="0" animBg="1"/>
      <p:bldP spid="74" grpId="0" animBg="1"/>
      <p:bldP spid="75" grpId="0" animBg="1"/>
      <p:bldP spid="77" grpId="0" animBg="1"/>
      <p:bldP spid="6176" grpId="0"/>
      <p:bldP spid="6177" grpId="0"/>
      <p:bldP spid="6178" grpId="0"/>
      <p:bldP spid="6179" grpId="0"/>
      <p:bldP spid="618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extBox 3"/>
          <p:cNvSpPr txBox="1">
            <a:spLocks noChangeArrowheads="1"/>
          </p:cNvSpPr>
          <p:nvPr/>
        </p:nvSpPr>
        <p:spPr bwMode="auto">
          <a:xfrm>
            <a:off x="749300" y="400050"/>
            <a:ext cx="525621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b="1">
                <a:latin typeface="黑体" pitchFamily="49" charset="-122"/>
                <a:ea typeface="黑体" pitchFamily="49" charset="-122"/>
              </a:rPr>
              <a:t>“蚁族”现象</a:t>
            </a:r>
            <a:r>
              <a:rPr lang="en-US" altLang="zh-CN" b="1">
                <a:latin typeface="黑体" pitchFamily="49" charset="-122"/>
                <a:ea typeface="黑体" pitchFamily="49" charset="-122"/>
              </a:rPr>
              <a:t>——</a:t>
            </a:r>
            <a:r>
              <a:rPr lang="zh-CN" altLang="en-US" b="1">
                <a:latin typeface="黑体" pitchFamily="49" charset="-122"/>
                <a:ea typeface="黑体" pitchFamily="49" charset="-122"/>
              </a:rPr>
              <a:t>问题</a:t>
            </a:r>
          </a:p>
        </p:txBody>
      </p:sp>
      <p:pic>
        <p:nvPicPr>
          <p:cNvPr id="33795" name="Picture 4" descr="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3771900" y="5121354"/>
            <a:ext cx="5156200" cy="1015663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b="1" dirty="0">
                <a:solidFill>
                  <a:schemeClr val="tx1"/>
                </a:solidFill>
              </a:rPr>
              <a:t>如果“蚁族”现象得不到重视和解决，他们的情绪得不到正常排解，他们的困难得不到解决，将会对社会和谐稳定构成挑战。</a:t>
            </a:r>
          </a:p>
        </p:txBody>
      </p:sp>
      <p:pic>
        <p:nvPicPr>
          <p:cNvPr id="172034" name="Picture 2" descr="C:\Users\Shiqian\Desktop\PPT-蚁族\201307046180481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450" y="1268413"/>
            <a:ext cx="3141663" cy="21717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/>
          <p:cNvSpPr/>
          <p:nvPr/>
        </p:nvSpPr>
        <p:spPr>
          <a:xfrm>
            <a:off x="215901" y="3789040"/>
            <a:ext cx="1745809" cy="132343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dirty="0">
                <a:solidFill>
                  <a:schemeClr val="tx1"/>
                </a:solidFill>
              </a:rPr>
              <a:t>产生</a:t>
            </a:r>
            <a:r>
              <a:rPr lang="zh-CN" altLang="en-US" sz="2000" b="1" dirty="0">
                <a:solidFill>
                  <a:schemeClr val="tx1"/>
                </a:solidFill>
              </a:rPr>
              <a:t>“相对剥夺感”</a:t>
            </a:r>
            <a:r>
              <a:rPr lang="zh-CN" altLang="en-US" sz="2000" dirty="0">
                <a:solidFill>
                  <a:schemeClr val="tx1"/>
                </a:solidFill>
              </a:rPr>
              <a:t>，将</a:t>
            </a:r>
            <a:r>
              <a:rPr lang="zh-CN" altLang="en-US" sz="2000" b="1" dirty="0">
                <a:solidFill>
                  <a:schemeClr val="tx1"/>
                </a:solidFill>
              </a:rPr>
              <a:t>外部社会因素</a:t>
            </a:r>
            <a:r>
              <a:rPr lang="zh-CN" altLang="en-US" sz="2000" dirty="0">
                <a:solidFill>
                  <a:schemeClr val="tx1"/>
                </a:solidFill>
              </a:rPr>
              <a:t>视为主要原因</a:t>
            </a:r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3460750" y="1428750"/>
            <a:ext cx="2698750" cy="2355850"/>
            <a:chOff x="3460750" y="1428750"/>
            <a:chExt cx="2698332" cy="2355850"/>
          </a:xfrm>
        </p:grpSpPr>
        <p:pic>
          <p:nvPicPr>
            <p:cNvPr id="172035" name="Picture 3" descr="C:\Users\Shiqian\Desktop\PPT-蚁族\20110116111828725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460750" y="1428750"/>
              <a:ext cx="2698332" cy="20383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33828" name="TextBox 12"/>
            <p:cNvSpPr txBox="1">
              <a:spLocks noChangeArrowheads="1"/>
            </p:cNvSpPr>
            <p:nvPr/>
          </p:nvSpPr>
          <p:spPr bwMode="auto">
            <a:xfrm>
              <a:off x="4038600" y="3384550"/>
              <a:ext cx="16002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000" b="1"/>
                <a:t>突尼斯骚乱</a:t>
              </a:r>
            </a:p>
          </p:txBody>
        </p:sp>
      </p:grpSp>
      <p:grpSp>
        <p:nvGrpSpPr>
          <p:cNvPr id="3" name="Group 24"/>
          <p:cNvGrpSpPr>
            <a:grpSpLocks/>
          </p:cNvGrpSpPr>
          <p:nvPr/>
        </p:nvGrpSpPr>
        <p:grpSpPr bwMode="auto">
          <a:xfrm>
            <a:off x="6172200" y="1439863"/>
            <a:ext cx="2901950" cy="2344737"/>
            <a:chOff x="6172200" y="1440381"/>
            <a:chExt cx="2901523" cy="2344219"/>
          </a:xfrm>
        </p:grpSpPr>
        <p:pic>
          <p:nvPicPr>
            <p:cNvPr id="172038" name="Picture 6" descr="C:\Users\Shiqian\Desktop\PPT-蚁族\102655842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172200" y="1440381"/>
              <a:ext cx="2901523" cy="198861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33826" name="TextBox 13"/>
            <p:cNvSpPr txBox="1">
              <a:spLocks noChangeArrowheads="1"/>
            </p:cNvSpPr>
            <p:nvPr/>
          </p:nvSpPr>
          <p:spPr bwMode="auto">
            <a:xfrm>
              <a:off x="6972300" y="3384550"/>
              <a:ext cx="1600200" cy="400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000" b="1"/>
                <a:t>埃及骚乱</a:t>
              </a:r>
            </a:p>
          </p:txBody>
        </p:sp>
      </p:grpSp>
      <p:sp>
        <p:nvSpPr>
          <p:cNvPr id="15" name="Right Brace 14"/>
          <p:cNvSpPr/>
          <p:nvPr/>
        </p:nvSpPr>
        <p:spPr>
          <a:xfrm rot="5400000">
            <a:off x="5844382" y="2301081"/>
            <a:ext cx="533400" cy="3411537"/>
          </a:xfrm>
          <a:prstGeom prst="rightBrace">
            <a:avLst>
              <a:gd name="adj1" fmla="val 74771"/>
              <a:gd name="adj2" fmla="val 49188"/>
            </a:avLst>
          </a:prstGeom>
          <a:ln w="38100">
            <a:solidFill>
              <a:srgbClr val="2DC8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/>
          </a:p>
        </p:txBody>
      </p:sp>
      <p:sp>
        <p:nvSpPr>
          <p:cNvPr id="16" name="TextBox 15"/>
          <p:cNvSpPr txBox="1"/>
          <p:nvPr/>
        </p:nvSpPr>
        <p:spPr>
          <a:xfrm>
            <a:off x="5372100" y="4362450"/>
            <a:ext cx="3511550" cy="400110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b="1" dirty="0">
                <a:solidFill>
                  <a:schemeClr val="tx1"/>
                </a:solidFill>
              </a:rPr>
              <a:t>都是由低收入大学毕业生引起</a:t>
            </a:r>
          </a:p>
        </p:txBody>
      </p:sp>
      <p:sp>
        <p:nvSpPr>
          <p:cNvPr id="19" name="Down Arrow 18"/>
          <p:cNvSpPr/>
          <p:nvPr/>
        </p:nvSpPr>
        <p:spPr>
          <a:xfrm>
            <a:off x="1504950" y="3474005"/>
            <a:ext cx="266700" cy="266700"/>
          </a:xfrm>
          <a:prstGeom prst="down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/>
          </a:p>
        </p:txBody>
      </p:sp>
      <p:sp>
        <p:nvSpPr>
          <p:cNvPr id="20" name="Oval 19"/>
          <p:cNvSpPr/>
          <p:nvPr/>
        </p:nvSpPr>
        <p:spPr>
          <a:xfrm>
            <a:off x="116505" y="5769260"/>
            <a:ext cx="990109" cy="815690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b="1" dirty="0">
                <a:solidFill>
                  <a:schemeClr val="tx1"/>
                </a:solidFill>
              </a:rPr>
              <a:t>愤青</a:t>
            </a:r>
          </a:p>
        </p:txBody>
      </p:sp>
      <p:sp>
        <p:nvSpPr>
          <p:cNvPr id="21" name="Oval 20"/>
          <p:cNvSpPr/>
          <p:nvPr/>
        </p:nvSpPr>
        <p:spPr>
          <a:xfrm>
            <a:off x="1193800" y="5873750"/>
            <a:ext cx="1289050" cy="800100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2000" b="1" dirty="0">
                <a:solidFill>
                  <a:schemeClr val="tx1"/>
                </a:solidFill>
              </a:rPr>
              <a:t>网络怨民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527300" y="5805269"/>
            <a:ext cx="12446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en-US" altLang="zh-CN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…</a:t>
            </a:r>
            <a:endParaRPr lang="zh-CN" altLang="en-US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24" name="Down Arrow 23"/>
          <p:cNvSpPr/>
          <p:nvPr/>
        </p:nvSpPr>
        <p:spPr>
          <a:xfrm>
            <a:off x="1376645" y="5229200"/>
            <a:ext cx="395005" cy="466750"/>
          </a:xfrm>
          <a:prstGeom prst="downArrow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endParaRPr lang="zh-CN" altLang="en-US"/>
          </a:p>
        </p:txBody>
      </p:sp>
      <p:sp>
        <p:nvSpPr>
          <p:cNvPr id="27" name="左箭头标注 26"/>
          <p:cNvSpPr/>
          <p:nvPr/>
        </p:nvSpPr>
        <p:spPr>
          <a:xfrm>
            <a:off x="2051720" y="4104075"/>
            <a:ext cx="1800200" cy="707886"/>
          </a:xfrm>
          <a:prstGeom prst="leftArrowCallout">
            <a:avLst>
              <a:gd name="adj1" fmla="val 25000"/>
              <a:gd name="adj2" fmla="val 25000"/>
              <a:gd name="adj3" fmla="val 37253"/>
              <a:gd name="adj4" fmla="val 69480"/>
            </a:avLst>
          </a:prstGeom>
          <a:solidFill>
            <a:srgbClr val="2DC8F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zh-CN" altLang="en-US" sz="2000" b="1" dirty="0"/>
              <a:t>对自身反省不够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72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9000"/>
                            </p:stCondLst>
                            <p:childTnLst>
                              <p:par>
                                <p:cTn id="48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0"/>
                            </p:stCondLst>
                            <p:childTnLst>
                              <p:par>
                                <p:cTn id="5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1000"/>
                            </p:stCondLst>
                            <p:childTnLst>
                              <p:par>
                                <p:cTn id="63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2000"/>
                            </p:stCondLst>
                            <p:childTnLst>
                              <p:par>
                                <p:cTn id="67" presetID="34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69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70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71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72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Box 3"/>
          <p:cNvSpPr txBox="1">
            <a:spLocks noChangeArrowheads="1"/>
          </p:cNvSpPr>
          <p:nvPr/>
        </p:nvSpPr>
        <p:spPr bwMode="auto">
          <a:xfrm>
            <a:off x="915988" y="400050"/>
            <a:ext cx="52562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b="1">
                <a:latin typeface="黑体" pitchFamily="49" charset="-122"/>
                <a:ea typeface="黑体" pitchFamily="49" charset="-122"/>
              </a:rPr>
              <a:t>政府：政策措施不健全</a:t>
            </a: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27000" y="1162050"/>
            <a:ext cx="6223000" cy="755650"/>
            <a:chOff x="127000" y="1162050"/>
            <a:chExt cx="6223000" cy="755650"/>
          </a:xfrm>
        </p:grpSpPr>
        <p:grpSp>
          <p:nvGrpSpPr>
            <p:cNvPr id="3" name="组合 287"/>
            <p:cNvGrpSpPr/>
            <p:nvPr/>
          </p:nvGrpSpPr>
          <p:grpSpPr>
            <a:xfrm>
              <a:off x="1177700" y="1809700"/>
              <a:ext cx="2771998" cy="108000"/>
              <a:chOff x="251520" y="4843041"/>
              <a:chExt cx="8474393" cy="360040"/>
            </a:xfrm>
            <a:solidFill>
              <a:srgbClr val="24D816"/>
            </a:solidFill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  <a:scene3d>
              <a:camera prst="perspectiveBelow"/>
              <a:lightRig rig="threePt" dir="t"/>
            </a:scene3d>
          </p:grpSpPr>
          <p:sp>
            <p:nvSpPr>
              <p:cNvPr id="7" name="五边形 21"/>
              <p:cNvSpPr/>
              <p:nvPr/>
            </p:nvSpPr>
            <p:spPr>
              <a:xfrm>
                <a:off x="251520" y="4843041"/>
                <a:ext cx="7383117" cy="360040"/>
              </a:xfrm>
              <a:prstGeom prst="homePlate">
                <a:avLst/>
              </a:prstGeom>
              <a:grpFill/>
              <a:ln>
                <a:solidFill>
                  <a:srgbClr val="24D81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  <p:sp>
            <p:nvSpPr>
              <p:cNvPr id="8" name="燕尾形 22"/>
              <p:cNvSpPr/>
              <p:nvPr/>
            </p:nvSpPr>
            <p:spPr>
              <a:xfrm>
                <a:off x="7704352" y="4843041"/>
                <a:ext cx="336210" cy="360040"/>
              </a:xfrm>
              <a:prstGeom prst="chevron">
                <a:avLst/>
              </a:prstGeom>
              <a:grpFill/>
              <a:ln>
                <a:solidFill>
                  <a:srgbClr val="24D81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  <p:sp>
            <p:nvSpPr>
              <p:cNvPr id="9" name="燕尾形 23"/>
              <p:cNvSpPr/>
              <p:nvPr/>
            </p:nvSpPr>
            <p:spPr>
              <a:xfrm>
                <a:off x="8053493" y="4843041"/>
                <a:ext cx="336210" cy="360040"/>
              </a:xfrm>
              <a:prstGeom prst="chevron">
                <a:avLst/>
              </a:prstGeom>
              <a:grpFill/>
              <a:ln>
                <a:solidFill>
                  <a:srgbClr val="24D81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/>
              </a:p>
            </p:txBody>
          </p:sp>
          <p:sp>
            <p:nvSpPr>
              <p:cNvPr id="10" name="燕尾形 24"/>
              <p:cNvSpPr/>
              <p:nvPr/>
            </p:nvSpPr>
            <p:spPr>
              <a:xfrm>
                <a:off x="8389703" y="4843041"/>
                <a:ext cx="336210" cy="360040"/>
              </a:xfrm>
              <a:prstGeom prst="chevron">
                <a:avLst/>
              </a:prstGeom>
              <a:grpFill/>
              <a:ln>
                <a:solidFill>
                  <a:srgbClr val="24D816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42012" name="TextBox 5"/>
            <p:cNvSpPr txBox="1">
              <a:spLocks noChangeArrowheads="1"/>
            </p:cNvSpPr>
            <p:nvPr/>
          </p:nvSpPr>
          <p:spPr bwMode="auto">
            <a:xfrm>
              <a:off x="127000" y="1162050"/>
              <a:ext cx="6223000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800" b="1" dirty="0" smtClean="0">
                  <a:latin typeface="黑体" pitchFamily="49" charset="-122"/>
                  <a:ea typeface="黑体" pitchFamily="49" charset="-122"/>
                </a:rPr>
                <a:t>区域</a:t>
              </a:r>
              <a:r>
                <a:rPr lang="zh-CN" altLang="en-US" sz="2800" b="1" dirty="0">
                  <a:latin typeface="黑体" pitchFamily="49" charset="-122"/>
                  <a:ea typeface="黑体" pitchFamily="49" charset="-122"/>
                </a:rPr>
                <a:t>间经济发展不均衡</a:t>
              </a:r>
            </a:p>
          </p:txBody>
        </p:sp>
      </p:grpSp>
      <p:grpSp>
        <p:nvGrpSpPr>
          <p:cNvPr id="4" name="Group 28"/>
          <p:cNvGrpSpPr>
            <a:grpSpLocks/>
          </p:cNvGrpSpPr>
          <p:nvPr/>
        </p:nvGrpSpPr>
        <p:grpSpPr bwMode="auto">
          <a:xfrm>
            <a:off x="3371850" y="2073275"/>
            <a:ext cx="2995613" cy="1978025"/>
            <a:chOff x="3371850" y="2073910"/>
            <a:chExt cx="2995315" cy="1977390"/>
          </a:xfrm>
        </p:grpSpPr>
        <p:pic>
          <p:nvPicPr>
            <p:cNvPr id="42009" name="Picture 6" descr="C:\Users\Shiqian\Desktop\PPT-蚁族\290x290x75x0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371850" y="2073910"/>
              <a:ext cx="2471738" cy="19773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2010" name="TextBox 19"/>
            <p:cNvSpPr txBox="1">
              <a:spLocks noChangeArrowheads="1"/>
            </p:cNvSpPr>
            <p:nvPr/>
          </p:nvSpPr>
          <p:spPr bwMode="auto">
            <a:xfrm>
              <a:off x="5905500" y="2095500"/>
              <a:ext cx="461665" cy="1955800"/>
            </a:xfrm>
            <a:prstGeom prst="rect">
              <a:avLst/>
            </a:prstGeom>
            <a:solidFill>
              <a:srgbClr val="2DC8FF"/>
            </a:solidFill>
            <a:ln w="9525">
              <a:solidFill>
                <a:srgbClr val="2DC8FF"/>
              </a:solidFill>
              <a:miter lim="800000"/>
              <a:headEnd/>
              <a:tailEnd/>
            </a:ln>
          </p:spPr>
          <p:txBody>
            <a:bodyPr vert="eaVert">
              <a:spAutoFit/>
            </a:bodyPr>
            <a:lstStyle/>
            <a:p>
              <a:r>
                <a:rPr lang="zh-CN" altLang="en-US" sz="1800" b="1" dirty="0"/>
                <a:t>东西部发展不平衡</a:t>
              </a:r>
            </a:p>
          </p:txBody>
        </p:sp>
      </p:grpSp>
      <p:sp>
        <p:nvSpPr>
          <p:cNvPr id="21" name="Rectangle 20"/>
          <p:cNvSpPr/>
          <p:nvPr/>
        </p:nvSpPr>
        <p:spPr>
          <a:xfrm>
            <a:off x="4260850" y="4810204"/>
            <a:ext cx="2222500" cy="1107996"/>
          </a:xfrm>
          <a:prstGeom prst="rect">
            <a:avLst/>
          </a:prstGeom>
          <a:solidFill>
            <a:srgbClr val="2DC8FF"/>
          </a:solidFill>
          <a:ln>
            <a:solidFill>
              <a:srgbClr val="2DC8FF"/>
            </a:solidFill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zh-CN" altLang="en-US" sz="2200" b="1" dirty="0">
                <a:solidFill>
                  <a:schemeClr val="tx1"/>
                </a:solidFill>
              </a:rPr>
              <a:t>发展水平不均衡</a:t>
            </a:r>
            <a:endParaRPr lang="en-US" altLang="zh-CN" sz="220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zh-CN" altLang="en-US" sz="2200" b="1" dirty="0">
                <a:solidFill>
                  <a:schemeClr val="tx1"/>
                </a:solidFill>
              </a:rPr>
              <a:t>贫富差距加大</a:t>
            </a:r>
            <a:endParaRPr lang="en-US" altLang="zh-CN" sz="2200" b="1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zh-CN" altLang="en-US" sz="2200" b="1" dirty="0">
                <a:solidFill>
                  <a:schemeClr val="tx1"/>
                </a:solidFill>
              </a:rPr>
              <a:t>发展机会不平等</a:t>
            </a:r>
          </a:p>
        </p:txBody>
      </p:sp>
      <p:sp>
        <p:nvSpPr>
          <p:cNvPr id="22" name="Right Arrow 21"/>
          <p:cNvSpPr/>
          <p:nvPr/>
        </p:nvSpPr>
        <p:spPr>
          <a:xfrm rot="1738979">
            <a:off x="3711575" y="4273550"/>
            <a:ext cx="400050" cy="2222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2DC8FF"/>
          </a:solidFill>
          <a:ln>
            <a:solidFill>
              <a:srgbClr val="2DC8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sz="2200" dirty="0"/>
          </a:p>
        </p:txBody>
      </p:sp>
      <p:sp>
        <p:nvSpPr>
          <p:cNvPr id="24" name="Right Arrow 23"/>
          <p:cNvSpPr/>
          <p:nvPr/>
        </p:nvSpPr>
        <p:spPr>
          <a:xfrm rot="21387331">
            <a:off x="3695700" y="4991100"/>
            <a:ext cx="400050" cy="2222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2DC8FF"/>
          </a:solidFill>
          <a:ln>
            <a:solidFill>
              <a:srgbClr val="2DC8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sz="2200" dirty="0"/>
          </a:p>
        </p:txBody>
      </p:sp>
      <p:sp>
        <p:nvSpPr>
          <p:cNvPr id="25" name="Right Arrow 24"/>
          <p:cNvSpPr/>
          <p:nvPr/>
        </p:nvSpPr>
        <p:spPr>
          <a:xfrm rot="5400000">
            <a:off x="4632325" y="4235450"/>
            <a:ext cx="400050" cy="2222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2DC8FF"/>
          </a:solidFill>
          <a:ln>
            <a:solidFill>
              <a:srgbClr val="2DC8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endParaRPr lang="zh-CN" altLang="en-US" sz="2200" dirty="0"/>
          </a:p>
        </p:txBody>
      </p:sp>
      <p:pic>
        <p:nvPicPr>
          <p:cNvPr id="28680" name="Picture 8" descr="C:\Users\Shiqian\Desktop\PPT-蚁族\u=1816065396,1503019045&amp;fm=23&amp;gp=0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551956">
            <a:off x="6234113" y="1624013"/>
            <a:ext cx="2932112" cy="177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Cloud Callout 25"/>
          <p:cNvSpPr>
            <a:spLocks noChangeArrowheads="1"/>
          </p:cNvSpPr>
          <p:nvPr/>
        </p:nvSpPr>
        <p:spPr bwMode="auto">
          <a:xfrm>
            <a:off x="6750050" y="3962400"/>
            <a:ext cx="2178050" cy="2222500"/>
          </a:xfrm>
          <a:prstGeom prst="cloudCallout">
            <a:avLst>
              <a:gd name="adj1" fmla="val -30630"/>
              <a:gd name="adj2" fmla="val -97968"/>
            </a:avLst>
          </a:prstGeom>
          <a:solidFill>
            <a:srgbClr val="2DC8FF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zh-CN" altLang="en-US" sz="2200"/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6864350" y="4406900"/>
            <a:ext cx="21082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1800" b="1"/>
              <a:t>大学毕业生纷纷涌向一线城市和省会城市，催生 </a:t>
            </a:r>
            <a:endParaRPr lang="en-US" altLang="zh-CN" sz="1800" b="1"/>
          </a:p>
          <a:p>
            <a:r>
              <a:rPr lang="en-US" altLang="zh-CN" sz="1800" b="1"/>
              <a:t>  </a:t>
            </a:r>
            <a:r>
              <a:rPr lang="zh-CN" altLang="en-US" sz="1800" b="1"/>
              <a:t>“</a:t>
            </a:r>
            <a:r>
              <a:rPr lang="zh-CN" altLang="en-US" sz="2400" b="1">
                <a:solidFill>
                  <a:srgbClr val="FF0000"/>
                </a:solidFill>
              </a:rPr>
              <a:t>候鸟族</a:t>
            </a:r>
            <a:r>
              <a:rPr lang="zh-CN" altLang="en-US" sz="1800" b="1"/>
              <a:t>”</a:t>
            </a:r>
          </a:p>
        </p:txBody>
      </p:sp>
      <p:grpSp>
        <p:nvGrpSpPr>
          <p:cNvPr id="5" name="Group 29"/>
          <p:cNvGrpSpPr>
            <a:grpSpLocks/>
          </p:cNvGrpSpPr>
          <p:nvPr/>
        </p:nvGrpSpPr>
        <p:grpSpPr bwMode="auto">
          <a:xfrm>
            <a:off x="0" y="2051050"/>
            <a:ext cx="3255963" cy="2193925"/>
            <a:chOff x="0" y="2051050"/>
            <a:chExt cx="3255963" cy="2193925"/>
          </a:xfrm>
        </p:grpSpPr>
        <p:grpSp>
          <p:nvGrpSpPr>
            <p:cNvPr id="42003" name="Group 27"/>
            <p:cNvGrpSpPr>
              <a:grpSpLocks/>
            </p:cNvGrpSpPr>
            <p:nvPr/>
          </p:nvGrpSpPr>
          <p:grpSpPr bwMode="auto">
            <a:xfrm>
              <a:off x="0" y="2051050"/>
              <a:ext cx="3255963" cy="2193925"/>
              <a:chOff x="0" y="2051050"/>
              <a:chExt cx="3255240" cy="2193925"/>
            </a:xfrm>
          </p:grpSpPr>
          <p:pic>
            <p:nvPicPr>
              <p:cNvPr id="42007" name="Picture 7" descr="C:\Users\Shiqian\Desktop\PPT-蚁族\11733957_053869.jp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0" y="2051050"/>
                <a:ext cx="2842301" cy="2193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008" name="TextBox 17"/>
              <p:cNvSpPr txBox="1">
                <a:spLocks noChangeArrowheads="1"/>
              </p:cNvSpPr>
              <p:nvPr/>
            </p:nvSpPr>
            <p:spPr bwMode="auto">
              <a:xfrm>
                <a:off x="2793575" y="2273300"/>
                <a:ext cx="461665" cy="1733550"/>
              </a:xfrm>
              <a:prstGeom prst="rect">
                <a:avLst/>
              </a:prstGeom>
              <a:solidFill>
                <a:srgbClr val="2DC8FF"/>
              </a:solidFill>
              <a:ln w="9525">
                <a:solidFill>
                  <a:srgbClr val="2DC8FF"/>
                </a:solidFill>
                <a:miter lim="800000"/>
                <a:headEnd/>
                <a:tailEnd/>
              </a:ln>
            </p:spPr>
            <p:txBody>
              <a:bodyPr vert="eaVert">
                <a:spAutoFit/>
              </a:bodyPr>
              <a:lstStyle/>
              <a:p>
                <a:r>
                  <a:rPr lang="zh-CN" altLang="en-US" sz="1800" b="1"/>
                  <a:t>城乡发展不平衡</a:t>
                </a:r>
              </a:p>
            </p:txBody>
          </p:sp>
        </p:grpSp>
        <p:grpSp>
          <p:nvGrpSpPr>
            <p:cNvPr id="42004" name="Group 28"/>
            <p:cNvGrpSpPr>
              <a:grpSpLocks/>
            </p:cNvGrpSpPr>
            <p:nvPr/>
          </p:nvGrpSpPr>
          <p:grpSpPr bwMode="auto">
            <a:xfrm>
              <a:off x="38100" y="2051050"/>
              <a:ext cx="1193800" cy="800100"/>
              <a:chOff x="38100" y="2051050"/>
              <a:chExt cx="1193800" cy="800100"/>
            </a:xfrm>
          </p:grpSpPr>
          <p:sp>
            <p:nvSpPr>
              <p:cNvPr id="42005" name="TextBox 27"/>
              <p:cNvSpPr txBox="1">
                <a:spLocks noChangeArrowheads="1"/>
              </p:cNvSpPr>
              <p:nvPr/>
            </p:nvSpPr>
            <p:spPr bwMode="auto">
              <a:xfrm>
                <a:off x="38100" y="2084384"/>
                <a:ext cx="1193800" cy="73866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n-US" altLang="zh-CN" sz="1400" b="1"/>
                  <a:t>2012</a:t>
                </a:r>
                <a:r>
                  <a:rPr lang="zh-CN" altLang="en-US" sz="1400" b="1"/>
                  <a:t>年城乡居民收入差距</a:t>
                </a:r>
                <a:r>
                  <a:rPr lang="en-US" altLang="zh-CN" sz="1400" b="1"/>
                  <a:t>3.1</a:t>
                </a:r>
                <a:r>
                  <a:rPr lang="zh-CN" altLang="en-US" sz="1400" b="1"/>
                  <a:t>倍。</a:t>
                </a:r>
              </a:p>
            </p:txBody>
          </p:sp>
          <p:sp>
            <p:nvSpPr>
              <p:cNvPr id="42006" name="Rounded Rectangular Callout 27"/>
              <p:cNvSpPr>
                <a:spLocks noChangeArrowheads="1"/>
              </p:cNvSpPr>
              <p:nvPr/>
            </p:nvSpPr>
            <p:spPr bwMode="auto">
              <a:xfrm>
                <a:off x="42864" y="2051050"/>
                <a:ext cx="1149350" cy="800100"/>
              </a:xfrm>
              <a:prstGeom prst="wedgeRoundRectCallout">
                <a:avLst>
                  <a:gd name="adj1" fmla="val 21801"/>
                  <a:gd name="adj2" fmla="val 64032"/>
                  <a:gd name="adj3" fmla="val 16667"/>
                </a:avLst>
              </a:prstGeom>
              <a:noFill/>
              <a:ln w="28575">
                <a:solidFill>
                  <a:srgbClr val="2DC8FF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 lang="zh-CN" altLang="en-US" sz="2200"/>
              </a:p>
            </p:txBody>
          </p:sp>
        </p:grpSp>
      </p:grpSp>
      <p:pic>
        <p:nvPicPr>
          <p:cNvPr id="41999" name="Picture 4" descr="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001" name="TextBox 18"/>
          <p:cNvSpPr txBox="1">
            <a:spLocks noChangeArrowheads="1"/>
          </p:cNvSpPr>
          <p:nvPr/>
        </p:nvSpPr>
        <p:spPr bwMode="auto">
          <a:xfrm>
            <a:off x="3043623" y="4540135"/>
            <a:ext cx="461577" cy="1733692"/>
          </a:xfrm>
          <a:prstGeom prst="rect">
            <a:avLst/>
          </a:prstGeom>
          <a:solidFill>
            <a:srgbClr val="2DC8FF"/>
          </a:solidFill>
          <a:ln w="9525">
            <a:solidFill>
              <a:srgbClr val="2DC8FF"/>
            </a:solidFill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r>
              <a:rPr lang="zh-CN" altLang="en-US" sz="1800" b="1" dirty="0"/>
              <a:t>区域发展不平衡</a:t>
            </a:r>
          </a:p>
        </p:txBody>
      </p:sp>
      <p:pic>
        <p:nvPicPr>
          <p:cNvPr id="31" name="图片 30" descr="U2104P31DT20111223095616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6535" y="4239090"/>
            <a:ext cx="2613660" cy="23012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0" dur="500"/>
                                        <p:tgtEl>
                                          <p:spTgt spid="420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4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6000"/>
                            </p:stCondLst>
                            <p:childTnLst>
                              <p:par>
                                <p:cTn id="40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7000"/>
                            </p:stCondLst>
                            <p:childTnLst>
                              <p:par>
                                <p:cTn id="44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8000"/>
                            </p:stCondLst>
                            <p:childTnLst>
                              <p:par>
                                <p:cTn id="48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0" dur="1000"/>
                                        <p:tgtEl>
                                          <p:spTgt spid="28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9000"/>
                            </p:stCondLst>
                            <p:childTnLst>
                              <p:par>
                                <p:cTn id="52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0"/>
                            </p:stCondLst>
                            <p:childTnLst>
                              <p:par>
                                <p:cTn id="56" presetID="34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58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9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60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61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4" grpId="0" animBg="1"/>
      <p:bldP spid="25" grpId="0" animBg="1"/>
      <p:bldP spid="26" grpId="0" animBg="1"/>
      <p:bldP spid="27" grpId="0"/>
      <p:bldP spid="4200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6" name="think-cell Slide" r:id="rId12" imgW="360" imgH="360" progId="">
              <p:embed/>
            </p:oleObj>
          </a:graphicData>
        </a:graphic>
      </p:graphicFrame>
      <p:sp>
        <p:nvSpPr>
          <p:cNvPr id="21507" name="Text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27100" y="247650"/>
            <a:ext cx="688975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2800" b="1"/>
              <a:t>学生：转变就业观念 </a:t>
            </a:r>
            <a:endParaRPr lang="en-US" altLang="zh-CN" sz="2800" b="1"/>
          </a:p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en-US" altLang="zh-CN" sz="2800" b="1"/>
              <a:t>                  </a:t>
            </a:r>
            <a:r>
              <a:rPr lang="zh-CN" altLang="en-US" sz="2800" b="1"/>
              <a:t>规划职业生涯</a:t>
            </a:r>
            <a:endParaRPr lang="zh-CN" altLang="en-US" sz="2800" b="1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21508" name="Picture 4" descr="9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3" name="Rounded 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5900" y="1384300"/>
            <a:ext cx="2889250" cy="4762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zh-CN" altLang="en-US" sz="2200" b="1"/>
              <a:t>客观认识自己</a:t>
            </a:r>
          </a:p>
        </p:txBody>
      </p:sp>
      <p:sp>
        <p:nvSpPr>
          <p:cNvPr id="6" name="Rectangle 5"/>
          <p:cNvSpPr/>
          <p:nvPr>
            <p:custDataLst>
              <p:tags r:id="rId5"/>
            </p:custDataLst>
          </p:nvPr>
        </p:nvSpPr>
        <p:spPr>
          <a:xfrm>
            <a:off x="908050" y="2478385"/>
            <a:ext cx="3263900" cy="461665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zh-CN" altLang="en-US" sz="2400" b="1" dirty="0"/>
              <a:t>对自身条件要正确分析</a:t>
            </a:r>
          </a:p>
        </p:txBody>
      </p:sp>
      <p:sp>
        <p:nvSpPr>
          <p:cNvPr id="7" name="Rectangle 6"/>
          <p:cNvSpPr/>
          <p:nvPr>
            <p:custDataLst>
              <p:tags r:id="rId6"/>
            </p:custDataLst>
          </p:nvPr>
        </p:nvSpPr>
        <p:spPr>
          <a:xfrm>
            <a:off x="896505" y="3220303"/>
            <a:ext cx="3244850" cy="83099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zh-CN" altLang="en-US" sz="2400" b="1" dirty="0"/>
              <a:t>不断提升学习能力和做事能力</a:t>
            </a:r>
          </a:p>
        </p:txBody>
      </p:sp>
      <p:cxnSp>
        <p:nvCxnSpPr>
          <p:cNvPr id="13" name="Shape 12"/>
          <p:cNvCxnSpPr>
            <a:stCxn id="53253" idx="2"/>
            <a:endCxn id="0" idx="1"/>
          </p:cNvCxnSpPr>
          <p:nvPr>
            <p:custDataLst>
              <p:tags r:id="rId7"/>
            </p:custDataLst>
          </p:nvPr>
        </p:nvCxnSpPr>
        <p:spPr>
          <a:xfrm rot="5400000">
            <a:off x="859631" y="1908969"/>
            <a:ext cx="849313" cy="752475"/>
          </a:xfrm>
          <a:prstGeom prst="bentConnector4">
            <a:avLst>
              <a:gd name="adj1" fmla="val 36400"/>
              <a:gd name="adj2" fmla="val 130380"/>
            </a:avLst>
          </a:prstGeom>
          <a:ln w="38100"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53253" idx="2"/>
            <a:endCxn id="0" idx="1"/>
          </p:cNvCxnSpPr>
          <p:nvPr>
            <p:custDataLst>
              <p:tags r:id="rId8"/>
            </p:custDataLst>
          </p:nvPr>
        </p:nvCxnSpPr>
        <p:spPr>
          <a:xfrm rot="5400000">
            <a:off x="391319" y="2366169"/>
            <a:ext cx="1774825" cy="763587"/>
          </a:xfrm>
          <a:prstGeom prst="bentConnector4">
            <a:avLst>
              <a:gd name="adj1" fmla="val 17225"/>
              <a:gd name="adj2" fmla="val 129921"/>
            </a:avLst>
          </a:prstGeom>
          <a:ln w="38100"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255" name="Picture 7" descr="C:\Users\Shiqian\Desktop\PPT-蚁族\dxs_01.gif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27000" y="4584700"/>
            <a:ext cx="4230688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ounded 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729163" y="1384300"/>
            <a:ext cx="2889250" cy="4762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zh-CN" altLang="en-US" sz="2200" b="1"/>
              <a:t>转变就业观念</a:t>
            </a: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4705350" y="1873250"/>
            <a:ext cx="3644900" cy="2311400"/>
            <a:chOff x="127000" y="1962150"/>
            <a:chExt cx="3709929" cy="2401632"/>
          </a:xfrm>
        </p:grpSpPr>
        <p:pic>
          <p:nvPicPr>
            <p:cNvPr id="21526" name="Picture 7" descr="C:\Users\Shiqian\Desktop\PPT-蚁族\2008102183035543_2.jpg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27000" y="1962150"/>
              <a:ext cx="3709929" cy="2401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527" name="TextBox 5"/>
            <p:cNvSpPr txBox="1">
              <a:spLocks noChangeArrowheads="1"/>
            </p:cNvSpPr>
            <p:nvPr/>
          </p:nvSpPr>
          <p:spPr bwMode="auto">
            <a:xfrm>
              <a:off x="1460500" y="3295650"/>
              <a:ext cx="1511300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zh-CN" altLang="en-US" sz="2400" b="1"/>
                <a:t>树立正确择业观</a:t>
              </a:r>
            </a:p>
          </p:txBody>
        </p:sp>
      </p:grpSp>
      <p:grpSp>
        <p:nvGrpSpPr>
          <p:cNvPr id="3" name="Group 20"/>
          <p:cNvGrpSpPr>
            <a:grpSpLocks/>
          </p:cNvGrpSpPr>
          <p:nvPr/>
        </p:nvGrpSpPr>
        <p:grpSpPr bwMode="auto">
          <a:xfrm>
            <a:off x="5505450" y="4281488"/>
            <a:ext cx="2259013" cy="1992312"/>
            <a:chOff x="5505450" y="4165500"/>
            <a:chExt cx="2258796" cy="1992328"/>
          </a:xfrm>
        </p:grpSpPr>
        <p:grpSp>
          <p:nvGrpSpPr>
            <p:cNvPr id="21522" name="Group 18"/>
            <p:cNvGrpSpPr>
              <a:grpSpLocks/>
            </p:cNvGrpSpPr>
            <p:nvPr/>
          </p:nvGrpSpPr>
          <p:grpSpPr bwMode="auto">
            <a:xfrm>
              <a:off x="5505450" y="4165500"/>
              <a:ext cx="2258796" cy="1992328"/>
              <a:chOff x="5554577" y="3901045"/>
              <a:chExt cx="2882922" cy="2238891"/>
            </a:xfrm>
          </p:grpSpPr>
          <p:pic>
            <p:nvPicPr>
              <p:cNvPr id="35" name="Picture 3" descr="C:\Users\Shiqian\Desktop\PPT-蚁族\00219b663d520be3341310 (1).jpg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5554577" y="3922453"/>
                <a:ext cx="2882922" cy="2217483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21525" name="TextBox 17"/>
              <p:cNvSpPr txBox="1">
                <a:spLocks noChangeArrowheads="1"/>
              </p:cNvSpPr>
              <p:nvPr/>
            </p:nvSpPr>
            <p:spPr bwMode="auto">
              <a:xfrm rot="-1718280">
                <a:off x="7246667" y="3901045"/>
                <a:ext cx="399931" cy="798061"/>
              </a:xfrm>
              <a:prstGeom prst="rect">
                <a:avLst/>
              </a:prstGeom>
              <a:solidFill>
                <a:srgbClr val="FFC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eaVert" lIns="18000" tIns="10800" rIns="18000" bIns="10800" anchor="ctr">
                <a:spAutoFit/>
              </a:bodyPr>
              <a:lstStyle/>
              <a:p>
                <a:pPr algn="ctr"/>
                <a:r>
                  <a:rPr lang="zh-CN" altLang="en-US" sz="1800" b="1"/>
                  <a:t>体面</a:t>
                </a:r>
              </a:p>
            </p:txBody>
          </p:sp>
        </p:grpSp>
        <p:sp>
          <p:nvSpPr>
            <p:cNvPr id="21523" name="TextBox 19"/>
            <p:cNvSpPr txBox="1">
              <a:spLocks noChangeArrowheads="1"/>
            </p:cNvSpPr>
            <p:nvPr/>
          </p:nvSpPr>
          <p:spPr bwMode="auto">
            <a:xfrm rot="1137669">
              <a:off x="6294899" y="4190891"/>
              <a:ext cx="313350" cy="710173"/>
            </a:xfrm>
            <a:prstGeom prst="rect">
              <a:avLst/>
            </a:prstGeom>
            <a:solidFill>
              <a:srgbClr val="FFC000"/>
            </a:solidFill>
            <a:ln w="9525">
              <a:noFill/>
              <a:miter lim="800000"/>
              <a:headEnd/>
              <a:tailEnd/>
            </a:ln>
          </p:spPr>
          <p:txBody>
            <a:bodyPr vert="eaVert" lIns="18000" tIns="10800" rIns="18000" bIns="10800" anchor="ctr">
              <a:spAutoFit/>
            </a:bodyPr>
            <a:lstStyle/>
            <a:p>
              <a:pPr algn="ctr"/>
              <a:r>
                <a:rPr lang="zh-CN" altLang="en-US" sz="1800" b="1"/>
                <a:t>高薪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1000"/>
                                        <p:tgtEl>
                                          <p:spTgt spid="53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7" dur="1000"/>
                                        <p:tgtEl>
                                          <p:spTgt spid="53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53" grpId="0" animBg="1"/>
      <p:bldP spid="3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extBox 3"/>
          <p:cNvSpPr txBox="1">
            <a:spLocks noChangeArrowheads="1"/>
          </p:cNvSpPr>
          <p:nvPr/>
        </p:nvSpPr>
        <p:spPr bwMode="auto">
          <a:xfrm>
            <a:off x="927100" y="247650"/>
            <a:ext cx="688975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2800" b="1"/>
              <a:t>学生：转变就业观念 </a:t>
            </a:r>
            <a:endParaRPr lang="en-US" altLang="zh-CN" sz="2800" b="1"/>
          </a:p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en-US" altLang="zh-CN" sz="2800" b="1"/>
              <a:t>                  </a:t>
            </a:r>
            <a:r>
              <a:rPr lang="zh-CN" altLang="en-US" sz="2800" b="1"/>
              <a:t>规划职业生涯</a:t>
            </a:r>
            <a:endParaRPr lang="zh-CN" altLang="en-US" sz="2800" b="1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55299" name="Picture 4" descr="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23813" y="323850"/>
            <a:ext cx="963613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0" name="Rounded 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5900" y="1384300"/>
            <a:ext cx="2889250" cy="4762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zh-CN" altLang="en-US" sz="2200" b="1"/>
              <a:t>制定职业生涯规划</a:t>
            </a:r>
          </a:p>
        </p:txBody>
      </p:sp>
      <p:graphicFrame>
        <p:nvGraphicFramePr>
          <p:cNvPr id="35" name="Diagram 34"/>
          <p:cNvGraphicFramePr/>
          <p:nvPr/>
        </p:nvGraphicFramePr>
        <p:xfrm>
          <a:off x="5549900" y="1987550"/>
          <a:ext cx="377825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55322" name="Rounded Rectangle 3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05300" y="1384300"/>
            <a:ext cx="3733800" cy="476250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zh-CN" altLang="en-US" sz="2200" b="1"/>
              <a:t>成功的职业生涯规划步骤是：</a:t>
            </a:r>
          </a:p>
        </p:txBody>
      </p:sp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-317500" y="2032000"/>
            <a:ext cx="6311900" cy="4375150"/>
            <a:chOff x="-317500" y="2032000"/>
            <a:chExt cx="6311900" cy="4375150"/>
          </a:xfrm>
        </p:grpSpPr>
        <p:graphicFrame>
          <p:nvGraphicFramePr>
            <p:cNvPr id="33" name="Diagram 32"/>
            <p:cNvGraphicFramePr/>
            <p:nvPr/>
          </p:nvGraphicFramePr>
          <p:xfrm>
            <a:off x="-317500" y="2032000"/>
            <a:ext cx="6311900" cy="43751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9" r:lo="rId10" r:qs="rId11" r:cs="rId12"/>
            </a:graphicData>
          </a:graphic>
        </p:graphicFrame>
        <p:sp>
          <p:nvSpPr>
            <p:cNvPr id="55305" name="Oval 33"/>
            <p:cNvSpPr>
              <a:spLocks noChangeArrowheads="1"/>
            </p:cNvSpPr>
            <p:nvPr/>
          </p:nvSpPr>
          <p:spPr bwMode="auto">
            <a:xfrm>
              <a:off x="2216150" y="3251200"/>
              <a:ext cx="1289050" cy="2044700"/>
            </a:xfrm>
            <a:prstGeom prst="ellipse">
              <a:avLst/>
            </a:pr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 lang="zh-CN" altLang="en-US" sz="2200"/>
            </a:p>
          </p:txBody>
        </p:sp>
        <p:sp>
          <p:nvSpPr>
            <p:cNvPr id="55306" name="TextBox 35"/>
            <p:cNvSpPr txBox="1">
              <a:spLocks noChangeArrowheads="1"/>
            </p:cNvSpPr>
            <p:nvPr/>
          </p:nvSpPr>
          <p:spPr bwMode="auto">
            <a:xfrm>
              <a:off x="2359622" y="3493750"/>
              <a:ext cx="923330" cy="144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eaVert">
              <a:spAutoFit/>
            </a:bodyPr>
            <a:lstStyle/>
            <a:p>
              <a:r>
                <a:rPr lang="zh-CN" altLang="en-US" sz="2400" b="1"/>
                <a:t>职业规划五步骤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1000"/>
                                        <p:tgtEl>
                                          <p:spTgt spid="55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1000"/>
                                        <p:tgtEl>
                                          <p:spTgt spid="553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300" grpId="0" animBg="1"/>
      <p:bldGraphic spid="35" grpId="0">
        <p:bldAsOne/>
      </p:bldGraphic>
      <p:bldP spid="5532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Qe4urozUCApJSLvOPp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WYq_ZIJk6GJecqNTd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V.s95PxUWsj5V5BiNY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ZcVj6oDESeQN8qbCtv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GlFBXKzUC2lztHIpWW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aSqBweDEiFYKioRjDs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XS12Ik0KOBbflYLdJ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KGtFdlYEWbh_B1oA5rs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8Ru.TASUmKJP4NSNRy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.g1ZU0o0ySoIMD9TcT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wssUlOqE.NMwqhgVxJ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dlKIgCQ0Sg5QEQb0XP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WXgLd8I0azUdO38Xta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aUCSPzhEGNYXD8ojHo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E2TPN2j0Cz._ya9EbVM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bEd8MvTkCpONB_ZcrU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VUdM539EaXscytw.L.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VUdM539EaXscytw.L.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VUdM539EaXscytw.L.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Q75A7sMEO0f48RF1ql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qlm4dFakuNf6qS6ecg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Q75A7sMEO0f48RF1qlu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W.OcvsdEartGZAPJAd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2Z.DmdmEWHBGQaWg1f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0Oc7IZb0SO7g6iq8QO7g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>
          <a:defRPr sz="2200" dirty="0"/>
        </a:defPPr>
      </a:lstStyle>
    </a:spDef>
    <a:txDef>
      <a:spPr>
        <a:noFill/>
      </a:spPr>
      <a:bodyPr wrap="square" rtlCol="0">
        <a:spAutoFit/>
      </a:bodyPr>
      <a:lstStyle>
        <a:defPPr>
          <a:defRPr sz="2200" baseline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默认设计模板">
  <a:themeElements>
    <a:clrScheme name="默认设计模板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默认设计模板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默认设计模板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默认设计模板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默认设计模板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01</TotalTime>
  <Pages>0</Pages>
  <Words>394</Words>
  <Characters>0</Characters>
  <Application>Microsoft Office PowerPoint</Application>
  <DocSecurity>0</DocSecurity>
  <PresentationFormat>全屏显示(4:3)</PresentationFormat>
  <Lines>0</Lines>
  <Paragraphs>98</Paragraphs>
  <Slides>7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7</vt:i4>
      </vt:variant>
    </vt:vector>
  </HeadingPairs>
  <TitlesOfParts>
    <vt:vector size="10" baseType="lpstr">
      <vt:lpstr>Office 主题​​</vt:lpstr>
      <vt:lpstr>默认设计模板</vt:lpstr>
      <vt:lpstr>think-cell Slide</vt:lpstr>
      <vt:lpstr>幻灯片 0</vt:lpstr>
      <vt:lpstr>幻灯片 1</vt:lpstr>
      <vt:lpstr>幻灯片 2</vt:lpstr>
      <vt:lpstr>幻灯片 3</vt:lpstr>
      <vt:lpstr>幻灯片 4</vt:lpstr>
      <vt:lpstr>幻灯片 5</vt:lpstr>
      <vt:lpstr>幻灯片 6</vt:lpstr>
    </vt:vector>
  </TitlesOfParts>
  <LinksUpToDate>false</LinksUpToDate>
  <CharactersWithSpaces>0</CharactersWithSpaces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0</dc:title>
  <dc:creator>lj</dc:creator>
  <cp:keywords>通用 地球</cp:keywords>
  <cp:lastModifiedBy>王志才</cp:lastModifiedBy>
  <cp:revision>435</cp:revision>
  <dcterms:modified xsi:type="dcterms:W3CDTF">2014-08-04T01:21:15Z</dcterms:modified>
</cp:coreProperties>
</file>